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365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100" d="100"/>
          <a:sy n="100" d="100"/>
        </p:scale>
        <p:origin x="990" y="7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SNEPCo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9" name="Rectangle 18" descr="&lt;Shell Yellow Bar&gt;" title="&lt;Shell Yellow Bar&gt;"/>
          <p:cNvSpPr/>
          <p:nvPr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January 2021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521308587"/>
      </p:ext>
    </p:extLst>
  </p:cSld>
  <p:clrMapOvr>
    <a:masterClrMapping/>
  </p:clrMapOvr>
  <p:transition/>
  <p:hf sldNum="0" hdr="0" ftr="0"/>
  <p:extLst>
    <p:ext uri="{DCECCB84-F9BA-43D5-87BE-67443E8EF086}">
      <p15:sldGuideLst xmlns:p15="http://schemas.microsoft.com/office/powerpoint/2012/main">
        <p15:guide id="1" pos="198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January 2021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414994217"/>
      </p:ext>
    </p:extLst>
  </p:cSld>
  <p:clrMapOvr>
    <a:masterClrMapping/>
  </p:clrMapOvr>
  <p:transition/>
  <p:hf sldNum="0"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3542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320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684400" indent="-152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January 2021</a:t>
            </a: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595083011"/>
      </p:ext>
    </p:extLst>
  </p:cSld>
  <p:clrMapOvr>
    <a:masterClrMapping/>
  </p:clrMapOvr>
  <p:transition/>
  <p:hf sldNum="0"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521417"/>
      </p:ext>
    </p:extLst>
  </p:cSld>
  <p:clrMapOvr>
    <a:masterClrMapping/>
  </p:clrMapOvr>
  <p:transition/>
  <p:hf sldNum="0"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GB" noProof="1"/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GB" sz="850" noProof="1">
              <a:solidFill>
                <a:schemeClr val="tx1"/>
              </a:solidFill>
              <a:latin typeface="ShellMedium" panose="00000600000000000000" pitchFamily="50" charset="0"/>
              <a:cs typeface="Arial" pitchFamily="34" charset="0"/>
            </a:endParaRP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  <p:grpSp>
        <p:nvGrpSpPr>
          <p:cNvPr id="31" name="Group 30"/>
          <p:cNvGrpSpPr/>
          <p:nvPr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120751120"/>
      </p:ext>
    </p:extLst>
  </p:cSld>
  <p:clrMapOvr>
    <a:masterClrMapping/>
  </p:clrMapOvr>
  <p:transition/>
  <p:hf sldNum="0"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832C78-A6B9-4FC6-B78A-E2171FA945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32142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9" imgW="239" imgH="239" progId="TCLayout.ActiveDocument.1">
                  <p:embed/>
                </p:oleObj>
              </mc:Choice>
              <mc:Fallback>
                <p:oleObj name="think-cell Slide" r:id="rId9" imgW="239" imgH="23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832C78-A6B9-4FC6-B78A-E2171FA9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January 2021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SPDC COG</a:t>
            </a:r>
          </a:p>
        </p:txBody>
      </p:sp>
    </p:spTree>
    <p:extLst>
      <p:ext uri="{BB962C8B-B14F-4D97-AF65-F5344CB8AC3E}">
        <p14:creationId xmlns:p14="http://schemas.microsoft.com/office/powerpoint/2010/main" val="634522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ransition>
    <p:fade/>
  </p:transition>
  <p:hf sldNum="0"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ShellBold" panose="00000800000000000000" pitchFamily="50" charset="0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tags" Target="../tags/tag2.xml"/><Relationship Id="rId16" Type="http://schemas.openxmlformats.org/officeDocument/2006/relationships/image" Target="../media/image14.svg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1.emf"/><Relationship Id="rId15" Type="http://schemas.openxmlformats.org/officeDocument/2006/relationships/image" Target="../media/image13.png"/><Relationship Id="rId10" Type="http://schemas.openxmlformats.org/officeDocument/2006/relationships/image" Target="../media/image8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D09403-7B8A-41CC-8FCE-DF1DB5EE44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" name="think-cell Slide" r:id="rId4" imgW="239" imgH="239" progId="TCLayout.ActiveDocument.1">
                  <p:embed/>
                </p:oleObj>
              </mc:Choice>
              <mc:Fallback>
                <p:oleObj name="think-cell Slide" r:id="rId4" imgW="239" imgH="23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D09403-7B8A-41CC-8FCE-DF1DB5EE44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F7C82A-5FEC-4977-9AF4-3EEDA4D51C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82" y="115108"/>
            <a:ext cx="10610879" cy="467734"/>
          </a:xfrm>
        </p:spPr>
        <p:txBody>
          <a:bodyPr vert="horz"/>
          <a:lstStyle/>
          <a:p>
            <a:r>
              <a:rPr lang="en-GB" dirty="0"/>
              <a:t>Application of PT2020 to STOGG Roadmap to Go-live dat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627A09E-AE6E-43E3-BB49-087810238C1A}"/>
              </a:ext>
            </a:extLst>
          </p:cNvPr>
          <p:cNvGrpSpPr/>
          <p:nvPr/>
        </p:nvGrpSpPr>
        <p:grpSpPr>
          <a:xfrm>
            <a:off x="0" y="1292554"/>
            <a:ext cx="12192000" cy="4986326"/>
            <a:chOff x="-1514" y="2949011"/>
            <a:chExt cx="24380681" cy="9652285"/>
          </a:xfrm>
        </p:grpSpPr>
        <p:sp>
          <p:nvSpPr>
            <p:cNvPr id="7" name="Freeform 2">
              <a:extLst>
                <a:ext uri="{FF2B5EF4-FFF2-40B4-BE49-F238E27FC236}">
                  <a16:creationId xmlns:a16="http://schemas.microsoft.com/office/drawing/2014/main" id="{9E55AF64-8BE3-4004-B5C3-DD14A361C3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14" y="2949011"/>
              <a:ext cx="24380681" cy="9652285"/>
            </a:xfrm>
            <a:custGeom>
              <a:avLst/>
              <a:gdLst>
                <a:gd name="T0" fmla="*/ 0 w 19570"/>
                <a:gd name="T1" fmla="*/ 0 h 7746"/>
                <a:gd name="T2" fmla="*/ 15299 w 19570"/>
                <a:gd name="T3" fmla="*/ 0 h 7746"/>
                <a:gd name="T4" fmla="*/ 15299 w 19570"/>
                <a:gd name="T5" fmla="*/ 0 h 7746"/>
                <a:gd name="T6" fmla="*/ 16884 w 19570"/>
                <a:gd name="T7" fmla="*/ 657 h 7746"/>
                <a:gd name="T8" fmla="*/ 16884 w 19570"/>
                <a:gd name="T9" fmla="*/ 657 h 7746"/>
                <a:gd name="T10" fmla="*/ 17541 w 19570"/>
                <a:gd name="T11" fmla="*/ 2242 h 7746"/>
                <a:gd name="T12" fmla="*/ 17541 w 19570"/>
                <a:gd name="T13" fmla="*/ 2242 h 7746"/>
                <a:gd name="T14" fmla="*/ 16884 w 19570"/>
                <a:gd name="T15" fmla="*/ 3828 h 7746"/>
                <a:gd name="T16" fmla="*/ 16884 w 19570"/>
                <a:gd name="T17" fmla="*/ 3828 h 7746"/>
                <a:gd name="T18" fmla="*/ 15299 w 19570"/>
                <a:gd name="T19" fmla="*/ 4484 h 7746"/>
                <a:gd name="T20" fmla="*/ 4332 w 19570"/>
                <a:gd name="T21" fmla="*/ 4484 h 7746"/>
                <a:gd name="T22" fmla="*/ 4332 w 19570"/>
                <a:gd name="T23" fmla="*/ 4484 h 7746"/>
                <a:gd name="T24" fmla="*/ 4332 w 19570"/>
                <a:gd name="T25" fmla="*/ 4484 h 7746"/>
                <a:gd name="T26" fmla="*/ 3611 w 19570"/>
                <a:gd name="T27" fmla="*/ 4782 h 7746"/>
                <a:gd name="T28" fmla="*/ 3611 w 19570"/>
                <a:gd name="T29" fmla="*/ 4782 h 7746"/>
                <a:gd name="T30" fmla="*/ 3313 w 19570"/>
                <a:gd name="T31" fmla="*/ 5503 h 7746"/>
                <a:gd name="T32" fmla="*/ 3313 w 19570"/>
                <a:gd name="T33" fmla="*/ 5503 h 7746"/>
                <a:gd name="T34" fmla="*/ 3611 w 19570"/>
                <a:gd name="T35" fmla="*/ 6224 h 7746"/>
                <a:gd name="T36" fmla="*/ 3611 w 19570"/>
                <a:gd name="T37" fmla="*/ 6224 h 7746"/>
                <a:gd name="T38" fmla="*/ 4332 w 19570"/>
                <a:gd name="T39" fmla="*/ 6522 h 7746"/>
                <a:gd name="T40" fmla="*/ 4332 w 19570"/>
                <a:gd name="T41" fmla="*/ 6522 h 7746"/>
                <a:gd name="T42" fmla="*/ 19569 w 19570"/>
                <a:gd name="T43" fmla="*/ 6522 h 7746"/>
                <a:gd name="T44" fmla="*/ 19569 w 19570"/>
                <a:gd name="T45" fmla="*/ 7745 h 7746"/>
                <a:gd name="T46" fmla="*/ 4332 w 19570"/>
                <a:gd name="T47" fmla="*/ 7745 h 7746"/>
                <a:gd name="T48" fmla="*/ 4250 w 19570"/>
                <a:gd name="T49" fmla="*/ 7745 h 7746"/>
                <a:gd name="T50" fmla="*/ 4250 w 19570"/>
                <a:gd name="T51" fmla="*/ 7744 h 7746"/>
                <a:gd name="T52" fmla="*/ 4250 w 19570"/>
                <a:gd name="T53" fmla="*/ 7744 h 7746"/>
                <a:gd name="T54" fmla="*/ 2747 w 19570"/>
                <a:gd name="T55" fmla="*/ 7088 h 7746"/>
                <a:gd name="T56" fmla="*/ 2747 w 19570"/>
                <a:gd name="T57" fmla="*/ 7088 h 7746"/>
                <a:gd name="T58" fmla="*/ 2090 w 19570"/>
                <a:gd name="T59" fmla="*/ 5503 h 7746"/>
                <a:gd name="T60" fmla="*/ 2090 w 19570"/>
                <a:gd name="T61" fmla="*/ 5503 h 7746"/>
                <a:gd name="T62" fmla="*/ 2747 w 19570"/>
                <a:gd name="T63" fmla="*/ 3917 h 7746"/>
                <a:gd name="T64" fmla="*/ 2747 w 19570"/>
                <a:gd name="T65" fmla="*/ 3917 h 7746"/>
                <a:gd name="T66" fmla="*/ 4332 w 19570"/>
                <a:gd name="T67" fmla="*/ 3261 h 7746"/>
                <a:gd name="T68" fmla="*/ 15299 w 19570"/>
                <a:gd name="T69" fmla="*/ 3261 h 7746"/>
                <a:gd name="T70" fmla="*/ 15299 w 19570"/>
                <a:gd name="T71" fmla="*/ 3261 h 7746"/>
                <a:gd name="T72" fmla="*/ 15299 w 19570"/>
                <a:gd name="T73" fmla="*/ 3261 h 7746"/>
                <a:gd name="T74" fmla="*/ 16019 w 19570"/>
                <a:gd name="T75" fmla="*/ 2963 h 7746"/>
                <a:gd name="T76" fmla="*/ 16019 w 19570"/>
                <a:gd name="T77" fmla="*/ 2963 h 7746"/>
                <a:gd name="T78" fmla="*/ 16317 w 19570"/>
                <a:gd name="T79" fmla="*/ 2242 h 7746"/>
                <a:gd name="T80" fmla="*/ 16317 w 19570"/>
                <a:gd name="T81" fmla="*/ 2242 h 7746"/>
                <a:gd name="T82" fmla="*/ 16019 w 19570"/>
                <a:gd name="T83" fmla="*/ 1522 h 7746"/>
                <a:gd name="T84" fmla="*/ 16019 w 19570"/>
                <a:gd name="T85" fmla="*/ 1522 h 7746"/>
                <a:gd name="T86" fmla="*/ 15299 w 19570"/>
                <a:gd name="T87" fmla="*/ 1223 h 7746"/>
                <a:gd name="T88" fmla="*/ 15299 w 19570"/>
                <a:gd name="T89" fmla="*/ 1223 h 7746"/>
                <a:gd name="T90" fmla="*/ 0 w 19570"/>
                <a:gd name="T91" fmla="*/ 1223 h 7746"/>
                <a:gd name="T92" fmla="*/ 0 w 19570"/>
                <a:gd name="T93" fmla="*/ 0 h 7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570" h="7746">
                  <a:moveTo>
                    <a:pt x="0" y="0"/>
                  </a:moveTo>
                  <a:lnTo>
                    <a:pt x="15299" y="0"/>
                  </a:lnTo>
                  <a:lnTo>
                    <a:pt x="15299" y="0"/>
                  </a:lnTo>
                  <a:cubicBezTo>
                    <a:pt x="15893" y="0"/>
                    <a:pt x="16464" y="236"/>
                    <a:pt x="16884" y="657"/>
                  </a:cubicBezTo>
                  <a:lnTo>
                    <a:pt x="16884" y="657"/>
                  </a:lnTo>
                  <a:cubicBezTo>
                    <a:pt x="17305" y="1077"/>
                    <a:pt x="17541" y="1648"/>
                    <a:pt x="17541" y="2242"/>
                  </a:cubicBezTo>
                  <a:lnTo>
                    <a:pt x="17541" y="2242"/>
                  </a:lnTo>
                  <a:cubicBezTo>
                    <a:pt x="17541" y="2837"/>
                    <a:pt x="17305" y="3407"/>
                    <a:pt x="16884" y="3828"/>
                  </a:cubicBezTo>
                  <a:lnTo>
                    <a:pt x="16884" y="3828"/>
                  </a:lnTo>
                  <a:cubicBezTo>
                    <a:pt x="16464" y="4248"/>
                    <a:pt x="15893" y="4484"/>
                    <a:pt x="15299" y="4484"/>
                  </a:cubicBezTo>
                  <a:lnTo>
                    <a:pt x="4332" y="4484"/>
                  </a:lnTo>
                  <a:lnTo>
                    <a:pt x="4332" y="4484"/>
                  </a:lnTo>
                  <a:lnTo>
                    <a:pt x="4332" y="4484"/>
                  </a:lnTo>
                  <a:cubicBezTo>
                    <a:pt x="4061" y="4484"/>
                    <a:pt x="3802" y="4591"/>
                    <a:pt x="3611" y="4782"/>
                  </a:cubicBezTo>
                  <a:lnTo>
                    <a:pt x="3611" y="4782"/>
                  </a:lnTo>
                  <a:cubicBezTo>
                    <a:pt x="3420" y="4973"/>
                    <a:pt x="3313" y="5233"/>
                    <a:pt x="3313" y="5503"/>
                  </a:cubicBezTo>
                  <a:lnTo>
                    <a:pt x="3313" y="5503"/>
                  </a:lnTo>
                  <a:cubicBezTo>
                    <a:pt x="3313" y="5773"/>
                    <a:pt x="3420" y="6033"/>
                    <a:pt x="3611" y="6224"/>
                  </a:cubicBezTo>
                  <a:lnTo>
                    <a:pt x="3611" y="6224"/>
                  </a:lnTo>
                  <a:cubicBezTo>
                    <a:pt x="3802" y="6415"/>
                    <a:pt x="4061" y="6522"/>
                    <a:pt x="4332" y="6522"/>
                  </a:cubicBezTo>
                  <a:lnTo>
                    <a:pt x="4332" y="6522"/>
                  </a:lnTo>
                  <a:lnTo>
                    <a:pt x="19569" y="6522"/>
                  </a:lnTo>
                  <a:lnTo>
                    <a:pt x="19569" y="7745"/>
                  </a:lnTo>
                  <a:lnTo>
                    <a:pt x="4332" y="7745"/>
                  </a:lnTo>
                  <a:lnTo>
                    <a:pt x="4250" y="7745"/>
                  </a:lnTo>
                  <a:lnTo>
                    <a:pt x="4250" y="7744"/>
                  </a:lnTo>
                  <a:lnTo>
                    <a:pt x="4250" y="7744"/>
                  </a:lnTo>
                  <a:cubicBezTo>
                    <a:pt x="3685" y="7723"/>
                    <a:pt x="3148" y="7490"/>
                    <a:pt x="2747" y="7088"/>
                  </a:cubicBezTo>
                  <a:lnTo>
                    <a:pt x="2747" y="7088"/>
                  </a:lnTo>
                  <a:cubicBezTo>
                    <a:pt x="2326" y="6668"/>
                    <a:pt x="2090" y="6098"/>
                    <a:pt x="2090" y="5503"/>
                  </a:cubicBezTo>
                  <a:lnTo>
                    <a:pt x="2090" y="5503"/>
                  </a:lnTo>
                  <a:cubicBezTo>
                    <a:pt x="2090" y="4908"/>
                    <a:pt x="2326" y="4338"/>
                    <a:pt x="2747" y="3917"/>
                  </a:cubicBezTo>
                  <a:lnTo>
                    <a:pt x="2747" y="3917"/>
                  </a:lnTo>
                  <a:cubicBezTo>
                    <a:pt x="3167" y="3498"/>
                    <a:pt x="3737" y="3261"/>
                    <a:pt x="4332" y="3261"/>
                  </a:cubicBezTo>
                  <a:lnTo>
                    <a:pt x="15299" y="3261"/>
                  </a:lnTo>
                  <a:lnTo>
                    <a:pt x="15299" y="3261"/>
                  </a:lnTo>
                  <a:lnTo>
                    <a:pt x="15299" y="3261"/>
                  </a:lnTo>
                  <a:cubicBezTo>
                    <a:pt x="15569" y="3261"/>
                    <a:pt x="15828" y="3154"/>
                    <a:pt x="16019" y="2963"/>
                  </a:cubicBezTo>
                  <a:lnTo>
                    <a:pt x="16019" y="2963"/>
                  </a:lnTo>
                  <a:cubicBezTo>
                    <a:pt x="16210" y="2772"/>
                    <a:pt x="16317" y="2512"/>
                    <a:pt x="16317" y="2242"/>
                  </a:cubicBezTo>
                  <a:lnTo>
                    <a:pt x="16317" y="2242"/>
                  </a:lnTo>
                  <a:cubicBezTo>
                    <a:pt x="16317" y="1972"/>
                    <a:pt x="16210" y="1712"/>
                    <a:pt x="16019" y="1522"/>
                  </a:cubicBezTo>
                  <a:lnTo>
                    <a:pt x="16019" y="1522"/>
                  </a:lnTo>
                  <a:cubicBezTo>
                    <a:pt x="15828" y="1330"/>
                    <a:pt x="15569" y="1223"/>
                    <a:pt x="15299" y="1223"/>
                  </a:cubicBezTo>
                  <a:lnTo>
                    <a:pt x="15299" y="1223"/>
                  </a:lnTo>
                  <a:lnTo>
                    <a:pt x="0" y="1223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53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CE2CF964-6811-432B-8DA2-72BEE411AF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12" y="3674165"/>
              <a:ext cx="24198144" cy="8228193"/>
            </a:xfrm>
            <a:custGeom>
              <a:avLst/>
              <a:gdLst>
                <a:gd name="connsiteX0" fmla="*/ 5611814 w 24198144"/>
                <a:gd name="connsiteY0" fmla="*/ 8158021 h 8228193"/>
                <a:gd name="connsiteX1" fmla="*/ 5865935 w 24198144"/>
                <a:gd name="connsiteY1" fmla="*/ 8158021 h 8228193"/>
                <a:gd name="connsiteX2" fmla="*/ 5865935 w 24198144"/>
                <a:gd name="connsiteY2" fmla="*/ 8222700 h 8228193"/>
                <a:gd name="connsiteX3" fmla="*/ 5611814 w 24198144"/>
                <a:gd name="connsiteY3" fmla="*/ 8222700 h 8228193"/>
                <a:gd name="connsiteX4" fmla="*/ 9285671 w 24198144"/>
                <a:gd name="connsiteY4" fmla="*/ 8147343 h 8228193"/>
                <a:gd name="connsiteX5" fmla="*/ 9285671 w 24198144"/>
                <a:gd name="connsiteY5" fmla="*/ 8210481 h 8228193"/>
                <a:gd name="connsiteX6" fmla="*/ 9031504 w 24198144"/>
                <a:gd name="connsiteY6" fmla="*/ 8211719 h 8228193"/>
                <a:gd name="connsiteX7" fmla="*/ 9031504 w 24198144"/>
                <a:gd name="connsiteY7" fmla="*/ 8149819 h 8228193"/>
                <a:gd name="connsiteX8" fmla="*/ 9792756 w 24198144"/>
                <a:gd name="connsiteY8" fmla="*/ 8143629 h 8228193"/>
                <a:gd name="connsiteX9" fmla="*/ 9794002 w 24198144"/>
                <a:gd name="connsiteY9" fmla="*/ 8206767 h 8228193"/>
                <a:gd name="connsiteX10" fmla="*/ 9539836 w 24198144"/>
                <a:gd name="connsiteY10" fmla="*/ 8209243 h 8228193"/>
                <a:gd name="connsiteX11" fmla="*/ 9538590 w 24198144"/>
                <a:gd name="connsiteY11" fmla="*/ 8146105 h 8228193"/>
                <a:gd name="connsiteX12" fmla="*/ 10301089 w 24198144"/>
                <a:gd name="connsiteY12" fmla="*/ 8139915 h 8228193"/>
                <a:gd name="connsiteX13" fmla="*/ 10302334 w 24198144"/>
                <a:gd name="connsiteY13" fmla="*/ 8203053 h 8228193"/>
                <a:gd name="connsiteX14" fmla="*/ 10046922 w 24198144"/>
                <a:gd name="connsiteY14" fmla="*/ 8204291 h 8228193"/>
                <a:gd name="connsiteX15" fmla="*/ 10046922 w 24198144"/>
                <a:gd name="connsiteY15" fmla="*/ 8141153 h 8228193"/>
                <a:gd name="connsiteX16" fmla="*/ 14993353 w 24198144"/>
                <a:gd name="connsiteY16" fmla="*/ 8136356 h 8228193"/>
                <a:gd name="connsiteX17" fmla="*/ 14993353 w 24198144"/>
                <a:gd name="connsiteY17" fmla="*/ 8199494 h 8228193"/>
                <a:gd name="connsiteX18" fmla="*/ 14740624 w 24198144"/>
                <a:gd name="connsiteY18" fmla="*/ 8200732 h 8228193"/>
                <a:gd name="connsiteX19" fmla="*/ 14739379 w 24198144"/>
                <a:gd name="connsiteY19" fmla="*/ 8137594 h 8228193"/>
                <a:gd name="connsiteX20" fmla="*/ 10809420 w 24198144"/>
                <a:gd name="connsiteY20" fmla="*/ 8136201 h 8228193"/>
                <a:gd name="connsiteX21" fmla="*/ 10809420 w 24198144"/>
                <a:gd name="connsiteY21" fmla="*/ 8199339 h 8228193"/>
                <a:gd name="connsiteX22" fmla="*/ 10555254 w 24198144"/>
                <a:gd name="connsiteY22" fmla="*/ 8200577 h 8228193"/>
                <a:gd name="connsiteX23" fmla="*/ 10555254 w 24198144"/>
                <a:gd name="connsiteY23" fmla="*/ 8138677 h 8228193"/>
                <a:gd name="connsiteX24" fmla="*/ 15501301 w 24198144"/>
                <a:gd name="connsiteY24" fmla="*/ 8132642 h 8228193"/>
                <a:gd name="connsiteX25" fmla="*/ 15501301 w 24198144"/>
                <a:gd name="connsiteY25" fmla="*/ 8195780 h 8228193"/>
                <a:gd name="connsiteX26" fmla="*/ 15248572 w 24198144"/>
                <a:gd name="connsiteY26" fmla="*/ 8197018 h 8228193"/>
                <a:gd name="connsiteX27" fmla="*/ 15247327 w 24198144"/>
                <a:gd name="connsiteY27" fmla="*/ 8133880 h 8228193"/>
                <a:gd name="connsiteX28" fmla="*/ 11316507 w 24198144"/>
                <a:gd name="connsiteY28" fmla="*/ 8132487 h 8228193"/>
                <a:gd name="connsiteX29" fmla="*/ 11317754 w 24198144"/>
                <a:gd name="connsiteY29" fmla="*/ 8195625 h 8228193"/>
                <a:gd name="connsiteX30" fmla="*/ 11063587 w 24198144"/>
                <a:gd name="connsiteY30" fmla="*/ 8196863 h 8228193"/>
                <a:gd name="connsiteX31" fmla="*/ 11063587 w 24198144"/>
                <a:gd name="connsiteY31" fmla="*/ 8133725 h 8228193"/>
                <a:gd name="connsiteX32" fmla="*/ 16009249 w 24198144"/>
                <a:gd name="connsiteY32" fmla="*/ 8128928 h 8228193"/>
                <a:gd name="connsiteX33" fmla="*/ 16009249 w 24198144"/>
                <a:gd name="connsiteY33" fmla="*/ 8192066 h 8228193"/>
                <a:gd name="connsiteX34" fmla="*/ 15755275 w 24198144"/>
                <a:gd name="connsiteY34" fmla="*/ 8193304 h 8228193"/>
                <a:gd name="connsiteX35" fmla="*/ 15755275 w 24198144"/>
                <a:gd name="connsiteY35" fmla="*/ 8130166 h 8228193"/>
                <a:gd name="connsiteX36" fmla="*/ 11824839 w 24198144"/>
                <a:gd name="connsiteY36" fmla="*/ 8128773 h 8228193"/>
                <a:gd name="connsiteX37" fmla="*/ 11826085 w 24198144"/>
                <a:gd name="connsiteY37" fmla="*/ 8191911 h 8228193"/>
                <a:gd name="connsiteX38" fmla="*/ 11570673 w 24198144"/>
                <a:gd name="connsiteY38" fmla="*/ 8193149 h 8228193"/>
                <a:gd name="connsiteX39" fmla="*/ 11570673 w 24198144"/>
                <a:gd name="connsiteY39" fmla="*/ 8131249 h 8228193"/>
                <a:gd name="connsiteX40" fmla="*/ 16517198 w 24198144"/>
                <a:gd name="connsiteY40" fmla="*/ 8125214 h 8228193"/>
                <a:gd name="connsiteX41" fmla="*/ 16517198 w 24198144"/>
                <a:gd name="connsiteY41" fmla="*/ 8188352 h 8228193"/>
                <a:gd name="connsiteX42" fmla="*/ 16263224 w 24198144"/>
                <a:gd name="connsiteY42" fmla="*/ 8190828 h 8228193"/>
                <a:gd name="connsiteX43" fmla="*/ 16261978 w 24198144"/>
                <a:gd name="connsiteY43" fmla="*/ 8126452 h 8228193"/>
                <a:gd name="connsiteX44" fmla="*/ 23942924 w 24198144"/>
                <a:gd name="connsiteY44" fmla="*/ 8125059 h 8228193"/>
                <a:gd name="connsiteX45" fmla="*/ 24198144 w 24198144"/>
                <a:gd name="connsiteY45" fmla="*/ 8125059 h 8228193"/>
                <a:gd name="connsiteX46" fmla="*/ 24198144 w 24198144"/>
                <a:gd name="connsiteY46" fmla="*/ 8189714 h 8228193"/>
                <a:gd name="connsiteX47" fmla="*/ 23942924 w 24198144"/>
                <a:gd name="connsiteY47" fmla="*/ 8189714 h 8228193"/>
                <a:gd name="connsiteX48" fmla="*/ 23436220 w 24198144"/>
                <a:gd name="connsiteY48" fmla="*/ 8125059 h 8228193"/>
                <a:gd name="connsiteX49" fmla="*/ 23690194 w 24198144"/>
                <a:gd name="connsiteY49" fmla="*/ 8125059 h 8228193"/>
                <a:gd name="connsiteX50" fmla="*/ 23690194 w 24198144"/>
                <a:gd name="connsiteY50" fmla="*/ 8189714 h 8228193"/>
                <a:gd name="connsiteX51" fmla="*/ 23436220 w 24198144"/>
                <a:gd name="connsiteY51" fmla="*/ 8189714 h 8228193"/>
                <a:gd name="connsiteX52" fmla="*/ 22928272 w 24198144"/>
                <a:gd name="connsiteY52" fmla="*/ 8125059 h 8228193"/>
                <a:gd name="connsiteX53" fmla="*/ 23182246 w 24198144"/>
                <a:gd name="connsiteY53" fmla="*/ 8125059 h 8228193"/>
                <a:gd name="connsiteX54" fmla="*/ 23182246 w 24198144"/>
                <a:gd name="connsiteY54" fmla="*/ 8189714 h 8228193"/>
                <a:gd name="connsiteX55" fmla="*/ 22928272 w 24198144"/>
                <a:gd name="connsiteY55" fmla="*/ 8189714 h 8228193"/>
                <a:gd name="connsiteX56" fmla="*/ 22420322 w 24198144"/>
                <a:gd name="connsiteY56" fmla="*/ 8125059 h 8228193"/>
                <a:gd name="connsiteX57" fmla="*/ 22675542 w 24198144"/>
                <a:gd name="connsiteY57" fmla="*/ 8125059 h 8228193"/>
                <a:gd name="connsiteX58" fmla="*/ 22675542 w 24198144"/>
                <a:gd name="connsiteY58" fmla="*/ 8189714 h 8228193"/>
                <a:gd name="connsiteX59" fmla="*/ 22420322 w 24198144"/>
                <a:gd name="connsiteY59" fmla="*/ 8189714 h 8228193"/>
                <a:gd name="connsiteX60" fmla="*/ 21913618 w 24198144"/>
                <a:gd name="connsiteY60" fmla="*/ 8125059 h 8228193"/>
                <a:gd name="connsiteX61" fmla="*/ 22167592 w 24198144"/>
                <a:gd name="connsiteY61" fmla="*/ 8125059 h 8228193"/>
                <a:gd name="connsiteX62" fmla="*/ 22167592 w 24198144"/>
                <a:gd name="connsiteY62" fmla="*/ 8189714 h 8228193"/>
                <a:gd name="connsiteX63" fmla="*/ 21913618 w 24198144"/>
                <a:gd name="connsiteY63" fmla="*/ 8189714 h 8228193"/>
                <a:gd name="connsiteX64" fmla="*/ 21405670 w 24198144"/>
                <a:gd name="connsiteY64" fmla="*/ 8125059 h 8228193"/>
                <a:gd name="connsiteX65" fmla="*/ 21659644 w 24198144"/>
                <a:gd name="connsiteY65" fmla="*/ 8125059 h 8228193"/>
                <a:gd name="connsiteX66" fmla="*/ 21659644 w 24198144"/>
                <a:gd name="connsiteY66" fmla="*/ 8189714 h 8228193"/>
                <a:gd name="connsiteX67" fmla="*/ 21405670 w 24198144"/>
                <a:gd name="connsiteY67" fmla="*/ 8189714 h 8228193"/>
                <a:gd name="connsiteX68" fmla="*/ 20897720 w 24198144"/>
                <a:gd name="connsiteY68" fmla="*/ 8125059 h 8228193"/>
                <a:gd name="connsiteX69" fmla="*/ 21151696 w 24198144"/>
                <a:gd name="connsiteY69" fmla="*/ 8125059 h 8228193"/>
                <a:gd name="connsiteX70" fmla="*/ 21151696 w 24198144"/>
                <a:gd name="connsiteY70" fmla="*/ 8189714 h 8228193"/>
                <a:gd name="connsiteX71" fmla="*/ 20897720 w 24198144"/>
                <a:gd name="connsiteY71" fmla="*/ 8189714 h 8228193"/>
                <a:gd name="connsiteX72" fmla="*/ 12331925 w 24198144"/>
                <a:gd name="connsiteY72" fmla="*/ 8125059 h 8228193"/>
                <a:gd name="connsiteX73" fmla="*/ 12331925 w 24198144"/>
                <a:gd name="connsiteY73" fmla="*/ 8188197 h 8228193"/>
                <a:gd name="connsiteX74" fmla="*/ 12079005 w 24198144"/>
                <a:gd name="connsiteY74" fmla="*/ 8189435 h 8228193"/>
                <a:gd name="connsiteX75" fmla="*/ 12079005 w 24198144"/>
                <a:gd name="connsiteY75" fmla="*/ 8126297 h 8228193"/>
                <a:gd name="connsiteX76" fmla="*/ 17023900 w 24198144"/>
                <a:gd name="connsiteY76" fmla="*/ 8121500 h 8228193"/>
                <a:gd name="connsiteX77" fmla="*/ 17025146 w 24198144"/>
                <a:gd name="connsiteY77" fmla="*/ 8184638 h 8228193"/>
                <a:gd name="connsiteX78" fmla="*/ 16771172 w 24198144"/>
                <a:gd name="connsiteY78" fmla="*/ 8185876 h 8228193"/>
                <a:gd name="connsiteX79" fmla="*/ 16769927 w 24198144"/>
                <a:gd name="connsiteY79" fmla="*/ 8122738 h 8228193"/>
                <a:gd name="connsiteX80" fmla="*/ 17531848 w 24198144"/>
                <a:gd name="connsiteY80" fmla="*/ 8117786 h 8228193"/>
                <a:gd name="connsiteX81" fmla="*/ 17531848 w 24198144"/>
                <a:gd name="connsiteY81" fmla="*/ 8180924 h 8228193"/>
                <a:gd name="connsiteX82" fmla="*/ 17277874 w 24198144"/>
                <a:gd name="connsiteY82" fmla="*/ 8182162 h 8228193"/>
                <a:gd name="connsiteX83" fmla="*/ 17277874 w 24198144"/>
                <a:gd name="connsiteY83" fmla="*/ 8119024 h 8228193"/>
                <a:gd name="connsiteX84" fmla="*/ 18039796 w 24198144"/>
                <a:gd name="connsiteY84" fmla="*/ 8114072 h 8228193"/>
                <a:gd name="connsiteX85" fmla="*/ 18039796 w 24198144"/>
                <a:gd name="connsiteY85" fmla="*/ 8177210 h 8228193"/>
                <a:gd name="connsiteX86" fmla="*/ 17785824 w 24198144"/>
                <a:gd name="connsiteY86" fmla="*/ 8178448 h 8228193"/>
                <a:gd name="connsiteX87" fmla="*/ 17785824 w 24198144"/>
                <a:gd name="connsiteY87" fmla="*/ 8115310 h 8228193"/>
                <a:gd name="connsiteX88" fmla="*/ 18728390 w 24198144"/>
                <a:gd name="connsiteY88" fmla="*/ 4048795 h 8228193"/>
                <a:gd name="connsiteX89" fmla="*/ 18983784 w 24198144"/>
                <a:gd name="connsiteY89" fmla="*/ 4048795 h 8228193"/>
                <a:gd name="connsiteX90" fmla="*/ 18983784 w 24198144"/>
                <a:gd name="connsiteY90" fmla="*/ 4113426 h 8228193"/>
                <a:gd name="connsiteX91" fmla="*/ 18728390 w 24198144"/>
                <a:gd name="connsiteY91" fmla="*/ 4113426 h 8228193"/>
                <a:gd name="connsiteX92" fmla="*/ 18221342 w 24198144"/>
                <a:gd name="connsiteY92" fmla="*/ 4048795 h 8228193"/>
                <a:gd name="connsiteX93" fmla="*/ 18475488 w 24198144"/>
                <a:gd name="connsiteY93" fmla="*/ 4048795 h 8228193"/>
                <a:gd name="connsiteX94" fmla="*/ 18475488 w 24198144"/>
                <a:gd name="connsiteY94" fmla="*/ 4113426 h 8228193"/>
                <a:gd name="connsiteX95" fmla="*/ 18221342 w 24198144"/>
                <a:gd name="connsiteY95" fmla="*/ 4113426 h 8228193"/>
                <a:gd name="connsiteX96" fmla="*/ 17713048 w 24198144"/>
                <a:gd name="connsiteY96" fmla="*/ 4048795 h 8228193"/>
                <a:gd name="connsiteX97" fmla="*/ 17967196 w 24198144"/>
                <a:gd name="connsiteY97" fmla="*/ 4048795 h 8228193"/>
                <a:gd name="connsiteX98" fmla="*/ 17967196 w 24198144"/>
                <a:gd name="connsiteY98" fmla="*/ 4113426 h 8228193"/>
                <a:gd name="connsiteX99" fmla="*/ 17713048 w 24198144"/>
                <a:gd name="connsiteY99" fmla="*/ 4113426 h 8228193"/>
                <a:gd name="connsiteX100" fmla="*/ 17204754 w 24198144"/>
                <a:gd name="connsiteY100" fmla="*/ 4048795 h 8228193"/>
                <a:gd name="connsiteX101" fmla="*/ 17458900 w 24198144"/>
                <a:gd name="connsiteY101" fmla="*/ 4048795 h 8228193"/>
                <a:gd name="connsiteX102" fmla="*/ 17458900 w 24198144"/>
                <a:gd name="connsiteY102" fmla="*/ 4113426 h 8228193"/>
                <a:gd name="connsiteX103" fmla="*/ 17204754 w 24198144"/>
                <a:gd name="connsiteY103" fmla="*/ 4113426 h 8228193"/>
                <a:gd name="connsiteX104" fmla="*/ 16697706 w 24198144"/>
                <a:gd name="connsiteY104" fmla="*/ 4048795 h 8228193"/>
                <a:gd name="connsiteX105" fmla="*/ 16951852 w 24198144"/>
                <a:gd name="connsiteY105" fmla="*/ 4048795 h 8228193"/>
                <a:gd name="connsiteX106" fmla="*/ 16951852 w 24198144"/>
                <a:gd name="connsiteY106" fmla="*/ 4113426 h 8228193"/>
                <a:gd name="connsiteX107" fmla="*/ 16697706 w 24198144"/>
                <a:gd name="connsiteY107" fmla="*/ 4113426 h 8228193"/>
                <a:gd name="connsiteX108" fmla="*/ 16189413 w 24198144"/>
                <a:gd name="connsiteY108" fmla="*/ 4048795 h 8228193"/>
                <a:gd name="connsiteX109" fmla="*/ 16443560 w 24198144"/>
                <a:gd name="connsiteY109" fmla="*/ 4048795 h 8228193"/>
                <a:gd name="connsiteX110" fmla="*/ 16443560 w 24198144"/>
                <a:gd name="connsiteY110" fmla="*/ 4113426 h 8228193"/>
                <a:gd name="connsiteX111" fmla="*/ 16189413 w 24198144"/>
                <a:gd name="connsiteY111" fmla="*/ 4113426 h 8228193"/>
                <a:gd name="connsiteX112" fmla="*/ 15681119 w 24198144"/>
                <a:gd name="connsiteY112" fmla="*/ 4048795 h 8228193"/>
                <a:gd name="connsiteX113" fmla="*/ 15935266 w 24198144"/>
                <a:gd name="connsiteY113" fmla="*/ 4048795 h 8228193"/>
                <a:gd name="connsiteX114" fmla="*/ 15935266 w 24198144"/>
                <a:gd name="connsiteY114" fmla="*/ 4113426 h 8228193"/>
                <a:gd name="connsiteX115" fmla="*/ 15681119 w 24198144"/>
                <a:gd name="connsiteY115" fmla="*/ 4113426 h 8228193"/>
                <a:gd name="connsiteX116" fmla="*/ 15174071 w 24198144"/>
                <a:gd name="connsiteY116" fmla="*/ 4048795 h 8228193"/>
                <a:gd name="connsiteX117" fmla="*/ 15426972 w 24198144"/>
                <a:gd name="connsiteY117" fmla="*/ 4048795 h 8228193"/>
                <a:gd name="connsiteX118" fmla="*/ 15426972 w 24198144"/>
                <a:gd name="connsiteY118" fmla="*/ 4113426 h 8228193"/>
                <a:gd name="connsiteX119" fmla="*/ 15174071 w 24198144"/>
                <a:gd name="connsiteY119" fmla="*/ 4113426 h 8228193"/>
                <a:gd name="connsiteX120" fmla="*/ 14665777 w 24198144"/>
                <a:gd name="connsiteY120" fmla="*/ 4048795 h 8228193"/>
                <a:gd name="connsiteX121" fmla="*/ 14918678 w 24198144"/>
                <a:gd name="connsiteY121" fmla="*/ 4048795 h 8228193"/>
                <a:gd name="connsiteX122" fmla="*/ 14918678 w 24198144"/>
                <a:gd name="connsiteY122" fmla="*/ 4113426 h 8228193"/>
                <a:gd name="connsiteX123" fmla="*/ 14665777 w 24198144"/>
                <a:gd name="connsiteY123" fmla="*/ 4113426 h 8228193"/>
                <a:gd name="connsiteX124" fmla="*/ 14157483 w 24198144"/>
                <a:gd name="connsiteY124" fmla="*/ 4048795 h 8228193"/>
                <a:gd name="connsiteX125" fmla="*/ 14411630 w 24198144"/>
                <a:gd name="connsiteY125" fmla="*/ 4048795 h 8228193"/>
                <a:gd name="connsiteX126" fmla="*/ 14411630 w 24198144"/>
                <a:gd name="connsiteY126" fmla="*/ 4113426 h 8228193"/>
                <a:gd name="connsiteX127" fmla="*/ 14157483 w 24198144"/>
                <a:gd name="connsiteY127" fmla="*/ 4113426 h 8228193"/>
                <a:gd name="connsiteX128" fmla="*/ 13649190 w 24198144"/>
                <a:gd name="connsiteY128" fmla="*/ 4048795 h 8228193"/>
                <a:gd name="connsiteX129" fmla="*/ 13903336 w 24198144"/>
                <a:gd name="connsiteY129" fmla="*/ 4048795 h 8228193"/>
                <a:gd name="connsiteX130" fmla="*/ 13903336 w 24198144"/>
                <a:gd name="connsiteY130" fmla="*/ 4113426 h 8228193"/>
                <a:gd name="connsiteX131" fmla="*/ 13649190 w 24198144"/>
                <a:gd name="connsiteY131" fmla="*/ 4113426 h 8228193"/>
                <a:gd name="connsiteX132" fmla="*/ 13142142 w 24198144"/>
                <a:gd name="connsiteY132" fmla="*/ 4048795 h 8228193"/>
                <a:gd name="connsiteX133" fmla="*/ 13395042 w 24198144"/>
                <a:gd name="connsiteY133" fmla="*/ 4048795 h 8228193"/>
                <a:gd name="connsiteX134" fmla="*/ 13395042 w 24198144"/>
                <a:gd name="connsiteY134" fmla="*/ 4113426 h 8228193"/>
                <a:gd name="connsiteX135" fmla="*/ 13142142 w 24198144"/>
                <a:gd name="connsiteY135" fmla="*/ 4113426 h 8228193"/>
                <a:gd name="connsiteX136" fmla="*/ 12633848 w 24198144"/>
                <a:gd name="connsiteY136" fmla="*/ 4048795 h 8228193"/>
                <a:gd name="connsiteX137" fmla="*/ 12887994 w 24198144"/>
                <a:gd name="connsiteY137" fmla="*/ 4048795 h 8228193"/>
                <a:gd name="connsiteX138" fmla="*/ 12887994 w 24198144"/>
                <a:gd name="connsiteY138" fmla="*/ 4113426 h 8228193"/>
                <a:gd name="connsiteX139" fmla="*/ 12633848 w 24198144"/>
                <a:gd name="connsiteY139" fmla="*/ 4113426 h 8228193"/>
                <a:gd name="connsiteX140" fmla="*/ 12126800 w 24198144"/>
                <a:gd name="connsiteY140" fmla="*/ 4048795 h 8228193"/>
                <a:gd name="connsiteX141" fmla="*/ 12379701 w 24198144"/>
                <a:gd name="connsiteY141" fmla="*/ 4048795 h 8228193"/>
                <a:gd name="connsiteX142" fmla="*/ 12379701 w 24198144"/>
                <a:gd name="connsiteY142" fmla="*/ 4113426 h 8228193"/>
                <a:gd name="connsiteX143" fmla="*/ 12126800 w 24198144"/>
                <a:gd name="connsiteY143" fmla="*/ 4113426 h 8228193"/>
                <a:gd name="connsiteX144" fmla="*/ 11618506 w 24198144"/>
                <a:gd name="connsiteY144" fmla="*/ 4048795 h 8228193"/>
                <a:gd name="connsiteX145" fmla="*/ 11872653 w 24198144"/>
                <a:gd name="connsiteY145" fmla="*/ 4048795 h 8228193"/>
                <a:gd name="connsiteX146" fmla="*/ 11872653 w 24198144"/>
                <a:gd name="connsiteY146" fmla="*/ 4113426 h 8228193"/>
                <a:gd name="connsiteX147" fmla="*/ 11618506 w 24198144"/>
                <a:gd name="connsiteY147" fmla="*/ 4113426 h 8228193"/>
                <a:gd name="connsiteX148" fmla="*/ 11111458 w 24198144"/>
                <a:gd name="connsiteY148" fmla="*/ 4048795 h 8228193"/>
                <a:gd name="connsiteX149" fmla="*/ 11365605 w 24198144"/>
                <a:gd name="connsiteY149" fmla="*/ 4048795 h 8228193"/>
                <a:gd name="connsiteX150" fmla="*/ 11365605 w 24198144"/>
                <a:gd name="connsiteY150" fmla="*/ 4113426 h 8228193"/>
                <a:gd name="connsiteX151" fmla="*/ 11111458 w 24198144"/>
                <a:gd name="connsiteY151" fmla="*/ 4113426 h 8228193"/>
                <a:gd name="connsiteX152" fmla="*/ 10603164 w 24198144"/>
                <a:gd name="connsiteY152" fmla="*/ 4048795 h 8228193"/>
                <a:gd name="connsiteX153" fmla="*/ 10857311 w 24198144"/>
                <a:gd name="connsiteY153" fmla="*/ 4048795 h 8228193"/>
                <a:gd name="connsiteX154" fmla="*/ 10857311 w 24198144"/>
                <a:gd name="connsiteY154" fmla="*/ 4113426 h 8228193"/>
                <a:gd name="connsiteX155" fmla="*/ 10603164 w 24198144"/>
                <a:gd name="connsiteY155" fmla="*/ 4113426 h 8228193"/>
                <a:gd name="connsiteX156" fmla="*/ 10094871 w 24198144"/>
                <a:gd name="connsiteY156" fmla="*/ 4048795 h 8228193"/>
                <a:gd name="connsiteX157" fmla="*/ 10349018 w 24198144"/>
                <a:gd name="connsiteY157" fmla="*/ 4048795 h 8228193"/>
                <a:gd name="connsiteX158" fmla="*/ 10349018 w 24198144"/>
                <a:gd name="connsiteY158" fmla="*/ 4113426 h 8228193"/>
                <a:gd name="connsiteX159" fmla="*/ 10094871 w 24198144"/>
                <a:gd name="connsiteY159" fmla="*/ 4113426 h 8228193"/>
                <a:gd name="connsiteX160" fmla="*/ 9586576 w 24198144"/>
                <a:gd name="connsiteY160" fmla="*/ 4048795 h 8228193"/>
                <a:gd name="connsiteX161" fmla="*/ 9841970 w 24198144"/>
                <a:gd name="connsiteY161" fmla="*/ 4048795 h 8228193"/>
                <a:gd name="connsiteX162" fmla="*/ 9841970 w 24198144"/>
                <a:gd name="connsiteY162" fmla="*/ 4113426 h 8228193"/>
                <a:gd name="connsiteX163" fmla="*/ 9586576 w 24198144"/>
                <a:gd name="connsiteY163" fmla="*/ 4113426 h 8228193"/>
                <a:gd name="connsiteX164" fmla="*/ 9079529 w 24198144"/>
                <a:gd name="connsiteY164" fmla="*/ 4048795 h 8228193"/>
                <a:gd name="connsiteX165" fmla="*/ 9333676 w 24198144"/>
                <a:gd name="connsiteY165" fmla="*/ 4048795 h 8228193"/>
                <a:gd name="connsiteX166" fmla="*/ 9333676 w 24198144"/>
                <a:gd name="connsiteY166" fmla="*/ 4113426 h 8228193"/>
                <a:gd name="connsiteX167" fmla="*/ 9079529 w 24198144"/>
                <a:gd name="connsiteY167" fmla="*/ 4113426 h 8228193"/>
                <a:gd name="connsiteX168" fmla="*/ 8571235 w 24198144"/>
                <a:gd name="connsiteY168" fmla="*/ 4048795 h 8228193"/>
                <a:gd name="connsiteX169" fmla="*/ 8825383 w 24198144"/>
                <a:gd name="connsiteY169" fmla="*/ 4048795 h 8228193"/>
                <a:gd name="connsiteX170" fmla="*/ 8825383 w 24198144"/>
                <a:gd name="connsiteY170" fmla="*/ 4113426 h 8228193"/>
                <a:gd name="connsiteX171" fmla="*/ 8571235 w 24198144"/>
                <a:gd name="connsiteY171" fmla="*/ 4113426 h 8228193"/>
                <a:gd name="connsiteX172" fmla="*/ 8062944 w 24198144"/>
                <a:gd name="connsiteY172" fmla="*/ 4048795 h 8228193"/>
                <a:gd name="connsiteX173" fmla="*/ 8317091 w 24198144"/>
                <a:gd name="connsiteY173" fmla="*/ 4048795 h 8228193"/>
                <a:gd name="connsiteX174" fmla="*/ 8317091 w 24198144"/>
                <a:gd name="connsiteY174" fmla="*/ 4113426 h 8228193"/>
                <a:gd name="connsiteX175" fmla="*/ 8062944 w 24198144"/>
                <a:gd name="connsiteY175" fmla="*/ 4113426 h 8228193"/>
                <a:gd name="connsiteX176" fmla="*/ 7555896 w 24198144"/>
                <a:gd name="connsiteY176" fmla="*/ 4048795 h 8228193"/>
                <a:gd name="connsiteX177" fmla="*/ 7810042 w 24198144"/>
                <a:gd name="connsiteY177" fmla="*/ 4048795 h 8228193"/>
                <a:gd name="connsiteX178" fmla="*/ 7810042 w 24198144"/>
                <a:gd name="connsiteY178" fmla="*/ 4113426 h 8228193"/>
                <a:gd name="connsiteX179" fmla="*/ 7555896 w 24198144"/>
                <a:gd name="connsiteY179" fmla="*/ 4113426 h 8228193"/>
                <a:gd name="connsiteX180" fmla="*/ 7047602 w 24198144"/>
                <a:gd name="connsiteY180" fmla="*/ 4048795 h 8228193"/>
                <a:gd name="connsiteX181" fmla="*/ 7301749 w 24198144"/>
                <a:gd name="connsiteY181" fmla="*/ 4048795 h 8228193"/>
                <a:gd name="connsiteX182" fmla="*/ 7301749 w 24198144"/>
                <a:gd name="connsiteY182" fmla="*/ 4113426 h 8228193"/>
                <a:gd name="connsiteX183" fmla="*/ 7047602 w 24198144"/>
                <a:gd name="connsiteY183" fmla="*/ 4113426 h 8228193"/>
                <a:gd name="connsiteX184" fmla="*/ 6539309 w 24198144"/>
                <a:gd name="connsiteY184" fmla="*/ 4048795 h 8228193"/>
                <a:gd name="connsiteX185" fmla="*/ 6793455 w 24198144"/>
                <a:gd name="connsiteY185" fmla="*/ 4048795 h 8228193"/>
                <a:gd name="connsiteX186" fmla="*/ 6793455 w 24198144"/>
                <a:gd name="connsiteY186" fmla="*/ 4113426 h 8228193"/>
                <a:gd name="connsiteX187" fmla="*/ 6539309 w 24198144"/>
                <a:gd name="connsiteY187" fmla="*/ 4113426 h 8228193"/>
                <a:gd name="connsiteX188" fmla="*/ 6032260 w 24198144"/>
                <a:gd name="connsiteY188" fmla="*/ 4048795 h 8228193"/>
                <a:gd name="connsiteX189" fmla="*/ 6285161 w 24198144"/>
                <a:gd name="connsiteY189" fmla="*/ 4048795 h 8228193"/>
                <a:gd name="connsiteX190" fmla="*/ 6285161 w 24198144"/>
                <a:gd name="connsiteY190" fmla="*/ 4113426 h 8228193"/>
                <a:gd name="connsiteX191" fmla="*/ 6032260 w 24198144"/>
                <a:gd name="connsiteY191" fmla="*/ 4113426 h 8228193"/>
                <a:gd name="connsiteX192" fmla="*/ 5523967 w 24198144"/>
                <a:gd name="connsiteY192" fmla="*/ 4048795 h 8228193"/>
                <a:gd name="connsiteX193" fmla="*/ 5776867 w 24198144"/>
                <a:gd name="connsiteY193" fmla="*/ 4048795 h 8228193"/>
                <a:gd name="connsiteX194" fmla="*/ 5776867 w 24198144"/>
                <a:gd name="connsiteY194" fmla="*/ 4113426 h 8228193"/>
                <a:gd name="connsiteX195" fmla="*/ 5523967 w 24198144"/>
                <a:gd name="connsiteY195" fmla="*/ 4113426 h 8228193"/>
                <a:gd name="connsiteX196" fmla="*/ 5015673 w 24198144"/>
                <a:gd name="connsiteY196" fmla="*/ 4048795 h 8228193"/>
                <a:gd name="connsiteX197" fmla="*/ 5179238 w 24198144"/>
                <a:gd name="connsiteY197" fmla="*/ 4048795 h 8228193"/>
                <a:gd name="connsiteX198" fmla="*/ 5269820 w 24198144"/>
                <a:gd name="connsiteY198" fmla="*/ 4048795 h 8228193"/>
                <a:gd name="connsiteX199" fmla="*/ 5269820 w 24198144"/>
                <a:gd name="connsiteY199" fmla="*/ 4113426 h 8228193"/>
                <a:gd name="connsiteX200" fmla="*/ 5135565 w 24198144"/>
                <a:gd name="connsiteY200" fmla="*/ 4113426 h 8228193"/>
                <a:gd name="connsiteX201" fmla="*/ 4997845 w 24198144"/>
                <a:gd name="connsiteY201" fmla="*/ 4120701 h 8228193"/>
                <a:gd name="connsiteX202" fmla="*/ 4473764 w 24198144"/>
                <a:gd name="connsiteY202" fmla="*/ 4264434 h 8228193"/>
                <a:gd name="connsiteX203" fmla="*/ 3876728 w 24198144"/>
                <a:gd name="connsiteY203" fmla="*/ 4704436 h 8228193"/>
                <a:gd name="connsiteX204" fmla="*/ 3476627 w 24198144"/>
                <a:gd name="connsiteY204" fmla="*/ 5361323 h 8228193"/>
                <a:gd name="connsiteX205" fmla="*/ 3337028 w 24198144"/>
                <a:gd name="connsiteY205" fmla="*/ 6137871 h 8228193"/>
                <a:gd name="connsiteX206" fmla="*/ 3476627 w 24198144"/>
                <a:gd name="connsiteY206" fmla="*/ 6914419 h 8228193"/>
                <a:gd name="connsiteX207" fmla="*/ 3876728 w 24198144"/>
                <a:gd name="connsiteY207" fmla="*/ 7571306 h 8228193"/>
                <a:gd name="connsiteX208" fmla="*/ 4473764 w 24198144"/>
                <a:gd name="connsiteY208" fmla="*/ 8011309 h 8228193"/>
                <a:gd name="connsiteX209" fmla="*/ 4997845 w 24198144"/>
                <a:gd name="connsiteY209" fmla="*/ 8155042 h 8228193"/>
                <a:gd name="connsiteX210" fmla="*/ 5103570 w 24198144"/>
                <a:gd name="connsiteY210" fmla="*/ 8160627 h 8228193"/>
                <a:gd name="connsiteX211" fmla="*/ 5103570 w 24198144"/>
                <a:gd name="connsiteY211" fmla="*/ 8158021 h 8228193"/>
                <a:gd name="connsiteX212" fmla="*/ 5357691 w 24198144"/>
                <a:gd name="connsiteY212" fmla="*/ 8158021 h 8228193"/>
                <a:gd name="connsiteX213" fmla="*/ 5357691 w 24198144"/>
                <a:gd name="connsiteY213" fmla="*/ 8222700 h 8228193"/>
                <a:gd name="connsiteX214" fmla="*/ 5179238 w 24198144"/>
                <a:gd name="connsiteY214" fmla="*/ 8222700 h 8228193"/>
                <a:gd name="connsiteX215" fmla="*/ 5179238 w 24198144"/>
                <a:gd name="connsiteY215" fmla="*/ 8228193 h 8228193"/>
                <a:gd name="connsiteX216" fmla="*/ 4451329 w 24198144"/>
                <a:gd name="connsiteY216" fmla="*/ 8068646 h 8228193"/>
                <a:gd name="connsiteX217" fmla="*/ 3835596 w 24198144"/>
                <a:gd name="connsiteY217" fmla="*/ 7616179 h 8228193"/>
                <a:gd name="connsiteX218" fmla="*/ 3424277 w 24198144"/>
                <a:gd name="connsiteY218" fmla="*/ 6938102 h 8228193"/>
                <a:gd name="connsiteX219" fmla="*/ 3279693 w 24198144"/>
                <a:gd name="connsiteY219" fmla="*/ 6137871 h 8228193"/>
                <a:gd name="connsiteX220" fmla="*/ 3424277 w 24198144"/>
                <a:gd name="connsiteY220" fmla="*/ 5337640 h 8228193"/>
                <a:gd name="connsiteX221" fmla="*/ 3835596 w 24198144"/>
                <a:gd name="connsiteY221" fmla="*/ 4659563 h 8228193"/>
                <a:gd name="connsiteX222" fmla="*/ 4451329 w 24198144"/>
                <a:gd name="connsiteY222" fmla="*/ 4207096 h 8228193"/>
                <a:gd name="connsiteX223" fmla="*/ 4992235 w 24198144"/>
                <a:gd name="connsiteY223" fmla="*/ 4058806 h 8228193"/>
                <a:gd name="connsiteX224" fmla="*/ 5015673 w 24198144"/>
                <a:gd name="connsiteY224" fmla="*/ 4057552 h 8228193"/>
                <a:gd name="connsiteX225" fmla="*/ 19244148 w 24198144"/>
                <a:gd name="connsiteY225" fmla="*/ 4 h 8228193"/>
                <a:gd name="connsiteX226" fmla="*/ 19972056 w 24198144"/>
                <a:gd name="connsiteY226" fmla="*/ 155770 h 8228193"/>
                <a:gd name="connsiteX227" fmla="*/ 20587788 w 24198144"/>
                <a:gd name="connsiteY227" fmla="*/ 601884 h 8228193"/>
                <a:gd name="connsiteX228" fmla="*/ 20999108 w 24198144"/>
                <a:gd name="connsiteY228" fmla="*/ 1269810 h 8228193"/>
                <a:gd name="connsiteX229" fmla="*/ 21143692 w 24198144"/>
                <a:gd name="connsiteY229" fmla="*/ 2057363 h 8228193"/>
                <a:gd name="connsiteX230" fmla="*/ 20999108 w 24198144"/>
                <a:gd name="connsiteY230" fmla="*/ 2844916 h 8228193"/>
                <a:gd name="connsiteX231" fmla="*/ 20587788 w 24198144"/>
                <a:gd name="connsiteY231" fmla="*/ 3512842 h 8228193"/>
                <a:gd name="connsiteX232" fmla="*/ 19972056 w 24198144"/>
                <a:gd name="connsiteY232" fmla="*/ 3957710 h 8228193"/>
                <a:gd name="connsiteX233" fmla="*/ 19430448 w 24198144"/>
                <a:gd name="connsiteY233" fmla="*/ 4103858 h 8228193"/>
                <a:gd name="connsiteX234" fmla="*/ 19363756 w 24198144"/>
                <a:gd name="connsiteY234" fmla="*/ 4107301 h 8228193"/>
                <a:gd name="connsiteX235" fmla="*/ 19363756 w 24198144"/>
                <a:gd name="connsiteY235" fmla="*/ 4113426 h 8228193"/>
                <a:gd name="connsiteX236" fmla="*/ 19245126 w 24198144"/>
                <a:gd name="connsiteY236" fmla="*/ 4113426 h 8228193"/>
                <a:gd name="connsiteX237" fmla="*/ 19244148 w 24198144"/>
                <a:gd name="connsiteY237" fmla="*/ 4113476 h 8228193"/>
                <a:gd name="connsiteX238" fmla="*/ 19244148 w 24198144"/>
                <a:gd name="connsiteY238" fmla="*/ 4113426 h 8228193"/>
                <a:gd name="connsiteX239" fmla="*/ 19236684 w 24198144"/>
                <a:gd name="connsiteY239" fmla="*/ 4113426 h 8228193"/>
                <a:gd name="connsiteX240" fmla="*/ 19236684 w 24198144"/>
                <a:gd name="connsiteY240" fmla="*/ 4048795 h 8228193"/>
                <a:gd name="connsiteX241" fmla="*/ 19334386 w 24198144"/>
                <a:gd name="connsiteY241" fmla="*/ 4048795 h 8228193"/>
                <a:gd name="connsiteX242" fmla="*/ 19425014 w 24198144"/>
                <a:gd name="connsiteY242" fmla="*/ 4043907 h 8228193"/>
                <a:gd name="connsiteX243" fmla="*/ 19949622 w 24198144"/>
                <a:gd name="connsiteY243" fmla="*/ 3900388 h 8228193"/>
                <a:gd name="connsiteX244" fmla="*/ 20546656 w 24198144"/>
                <a:gd name="connsiteY244" fmla="*/ 3469227 h 8228193"/>
                <a:gd name="connsiteX245" fmla="*/ 20946758 w 24198144"/>
                <a:gd name="connsiteY245" fmla="*/ 2821240 h 8228193"/>
                <a:gd name="connsiteX246" fmla="*/ 21086358 w 24198144"/>
                <a:gd name="connsiteY246" fmla="*/ 2057363 h 8228193"/>
                <a:gd name="connsiteX247" fmla="*/ 20946758 w 24198144"/>
                <a:gd name="connsiteY247" fmla="*/ 1293486 h 8228193"/>
                <a:gd name="connsiteX248" fmla="*/ 20546656 w 24198144"/>
                <a:gd name="connsiteY248" fmla="*/ 646745 h 8228193"/>
                <a:gd name="connsiteX249" fmla="*/ 19949622 w 24198144"/>
                <a:gd name="connsiteY249" fmla="*/ 213092 h 8228193"/>
                <a:gd name="connsiteX250" fmla="*/ 19244148 w 24198144"/>
                <a:gd name="connsiteY250" fmla="*/ 61064 h 8228193"/>
                <a:gd name="connsiteX251" fmla="*/ 18600290 w 24198144"/>
                <a:gd name="connsiteY251" fmla="*/ 0 h 8228193"/>
                <a:gd name="connsiteX252" fmla="*/ 18852850 w 24198144"/>
                <a:gd name="connsiteY252" fmla="*/ 0 h 8228193"/>
                <a:gd name="connsiteX253" fmla="*/ 18852850 w 24198144"/>
                <a:gd name="connsiteY253" fmla="*/ 64655 h 8228193"/>
                <a:gd name="connsiteX254" fmla="*/ 18600290 w 24198144"/>
                <a:gd name="connsiteY254" fmla="*/ 64655 h 8228193"/>
                <a:gd name="connsiteX255" fmla="*/ 18092680 w 24198144"/>
                <a:gd name="connsiteY255" fmla="*/ 0 h 8228193"/>
                <a:gd name="connsiteX256" fmla="*/ 18345242 w 24198144"/>
                <a:gd name="connsiteY256" fmla="*/ 0 h 8228193"/>
                <a:gd name="connsiteX257" fmla="*/ 18345242 w 24198144"/>
                <a:gd name="connsiteY257" fmla="*/ 64655 h 8228193"/>
                <a:gd name="connsiteX258" fmla="*/ 18092680 w 24198144"/>
                <a:gd name="connsiteY258" fmla="*/ 64655 h 8228193"/>
                <a:gd name="connsiteX259" fmla="*/ 17585072 w 24198144"/>
                <a:gd name="connsiteY259" fmla="*/ 0 h 8228193"/>
                <a:gd name="connsiteX260" fmla="*/ 17838876 w 24198144"/>
                <a:gd name="connsiteY260" fmla="*/ 0 h 8228193"/>
                <a:gd name="connsiteX261" fmla="*/ 17838876 w 24198144"/>
                <a:gd name="connsiteY261" fmla="*/ 64655 h 8228193"/>
                <a:gd name="connsiteX262" fmla="*/ 17585072 w 24198144"/>
                <a:gd name="connsiteY262" fmla="*/ 64655 h 8228193"/>
                <a:gd name="connsiteX263" fmla="*/ 14231493 w 24198144"/>
                <a:gd name="connsiteY263" fmla="*/ 0 h 8228193"/>
                <a:gd name="connsiteX264" fmla="*/ 14485424 w 24198144"/>
                <a:gd name="connsiteY264" fmla="*/ 0 h 8228193"/>
                <a:gd name="connsiteX265" fmla="*/ 14485424 w 24198144"/>
                <a:gd name="connsiteY265" fmla="*/ 64655 h 8228193"/>
                <a:gd name="connsiteX266" fmla="*/ 14231493 w 24198144"/>
                <a:gd name="connsiteY266" fmla="*/ 64655 h 8228193"/>
                <a:gd name="connsiteX267" fmla="*/ 13724874 w 24198144"/>
                <a:gd name="connsiteY267" fmla="*/ 0 h 8228193"/>
                <a:gd name="connsiteX268" fmla="*/ 13977561 w 24198144"/>
                <a:gd name="connsiteY268" fmla="*/ 0 h 8228193"/>
                <a:gd name="connsiteX269" fmla="*/ 13977561 w 24198144"/>
                <a:gd name="connsiteY269" fmla="*/ 64655 h 8228193"/>
                <a:gd name="connsiteX270" fmla="*/ 13724874 w 24198144"/>
                <a:gd name="connsiteY270" fmla="*/ 64655 h 8228193"/>
                <a:gd name="connsiteX271" fmla="*/ 13217011 w 24198144"/>
                <a:gd name="connsiteY271" fmla="*/ 0 h 8228193"/>
                <a:gd name="connsiteX272" fmla="*/ 13469698 w 24198144"/>
                <a:gd name="connsiteY272" fmla="*/ 0 h 8228193"/>
                <a:gd name="connsiteX273" fmla="*/ 13469698 w 24198144"/>
                <a:gd name="connsiteY273" fmla="*/ 64655 h 8228193"/>
                <a:gd name="connsiteX274" fmla="*/ 13217011 w 24198144"/>
                <a:gd name="connsiteY274" fmla="*/ 64655 h 8228193"/>
                <a:gd name="connsiteX275" fmla="*/ 12709148 w 24198144"/>
                <a:gd name="connsiteY275" fmla="*/ 0 h 8228193"/>
                <a:gd name="connsiteX276" fmla="*/ 12963080 w 24198144"/>
                <a:gd name="connsiteY276" fmla="*/ 0 h 8228193"/>
                <a:gd name="connsiteX277" fmla="*/ 12963080 w 24198144"/>
                <a:gd name="connsiteY277" fmla="*/ 64655 h 8228193"/>
                <a:gd name="connsiteX278" fmla="*/ 12709148 w 24198144"/>
                <a:gd name="connsiteY278" fmla="*/ 64655 h 8228193"/>
                <a:gd name="connsiteX279" fmla="*/ 12202529 w 24198144"/>
                <a:gd name="connsiteY279" fmla="*/ 0 h 8228193"/>
                <a:gd name="connsiteX280" fmla="*/ 12455216 w 24198144"/>
                <a:gd name="connsiteY280" fmla="*/ 0 h 8228193"/>
                <a:gd name="connsiteX281" fmla="*/ 12455216 w 24198144"/>
                <a:gd name="connsiteY281" fmla="*/ 64655 h 8228193"/>
                <a:gd name="connsiteX282" fmla="*/ 12202529 w 24198144"/>
                <a:gd name="connsiteY282" fmla="*/ 64655 h 8228193"/>
                <a:gd name="connsiteX283" fmla="*/ 11695912 w 24198144"/>
                <a:gd name="connsiteY283" fmla="*/ 0 h 8228193"/>
                <a:gd name="connsiteX284" fmla="*/ 11948598 w 24198144"/>
                <a:gd name="connsiteY284" fmla="*/ 0 h 8228193"/>
                <a:gd name="connsiteX285" fmla="*/ 11948598 w 24198144"/>
                <a:gd name="connsiteY285" fmla="*/ 64655 h 8228193"/>
                <a:gd name="connsiteX286" fmla="*/ 11695912 w 24198144"/>
                <a:gd name="connsiteY286" fmla="*/ 64655 h 8228193"/>
                <a:gd name="connsiteX287" fmla="*/ 8380405 w 24198144"/>
                <a:gd name="connsiteY287" fmla="*/ 0 h 8228193"/>
                <a:gd name="connsiteX288" fmla="*/ 8634720 w 24198144"/>
                <a:gd name="connsiteY288" fmla="*/ 0 h 8228193"/>
                <a:gd name="connsiteX289" fmla="*/ 8634720 w 24198144"/>
                <a:gd name="connsiteY289" fmla="*/ 64655 h 8228193"/>
                <a:gd name="connsiteX290" fmla="*/ 8380405 w 24198144"/>
                <a:gd name="connsiteY290" fmla="*/ 64655 h 8228193"/>
                <a:gd name="connsiteX291" fmla="*/ 7871770 w 24198144"/>
                <a:gd name="connsiteY291" fmla="*/ 0 h 8228193"/>
                <a:gd name="connsiteX292" fmla="*/ 8127334 w 24198144"/>
                <a:gd name="connsiteY292" fmla="*/ 0 h 8228193"/>
                <a:gd name="connsiteX293" fmla="*/ 8127334 w 24198144"/>
                <a:gd name="connsiteY293" fmla="*/ 64655 h 8228193"/>
                <a:gd name="connsiteX294" fmla="*/ 7871770 w 24198144"/>
                <a:gd name="connsiteY294" fmla="*/ 64655 h 8228193"/>
                <a:gd name="connsiteX295" fmla="*/ 7364381 w 24198144"/>
                <a:gd name="connsiteY295" fmla="*/ 0 h 8228193"/>
                <a:gd name="connsiteX296" fmla="*/ 7618699 w 24198144"/>
                <a:gd name="connsiteY296" fmla="*/ 0 h 8228193"/>
                <a:gd name="connsiteX297" fmla="*/ 7618699 w 24198144"/>
                <a:gd name="connsiteY297" fmla="*/ 64655 h 8228193"/>
                <a:gd name="connsiteX298" fmla="*/ 7364381 w 24198144"/>
                <a:gd name="connsiteY298" fmla="*/ 64655 h 8228193"/>
                <a:gd name="connsiteX299" fmla="*/ 6855744 w 24198144"/>
                <a:gd name="connsiteY299" fmla="*/ 0 h 8228193"/>
                <a:gd name="connsiteX300" fmla="*/ 7110063 w 24198144"/>
                <a:gd name="connsiteY300" fmla="*/ 0 h 8228193"/>
                <a:gd name="connsiteX301" fmla="*/ 7110063 w 24198144"/>
                <a:gd name="connsiteY301" fmla="*/ 64655 h 8228193"/>
                <a:gd name="connsiteX302" fmla="*/ 6855744 w 24198144"/>
                <a:gd name="connsiteY302" fmla="*/ 64655 h 8228193"/>
                <a:gd name="connsiteX303" fmla="*/ 6347110 w 24198144"/>
                <a:gd name="connsiteY303" fmla="*/ 0 h 8228193"/>
                <a:gd name="connsiteX304" fmla="*/ 6602673 w 24198144"/>
                <a:gd name="connsiteY304" fmla="*/ 0 h 8228193"/>
                <a:gd name="connsiteX305" fmla="*/ 6602673 w 24198144"/>
                <a:gd name="connsiteY305" fmla="*/ 64655 h 8228193"/>
                <a:gd name="connsiteX306" fmla="*/ 6347110 w 24198144"/>
                <a:gd name="connsiteY306" fmla="*/ 64655 h 8228193"/>
                <a:gd name="connsiteX307" fmla="*/ 5839721 w 24198144"/>
                <a:gd name="connsiteY307" fmla="*/ 0 h 8228193"/>
                <a:gd name="connsiteX308" fmla="*/ 6094038 w 24198144"/>
                <a:gd name="connsiteY308" fmla="*/ 0 h 8228193"/>
                <a:gd name="connsiteX309" fmla="*/ 6094038 w 24198144"/>
                <a:gd name="connsiteY309" fmla="*/ 64655 h 8228193"/>
                <a:gd name="connsiteX310" fmla="*/ 5839721 w 24198144"/>
                <a:gd name="connsiteY310" fmla="*/ 64655 h 8228193"/>
                <a:gd name="connsiteX311" fmla="*/ 3047710 w 24198144"/>
                <a:gd name="connsiteY311" fmla="*/ 0 h 8228193"/>
                <a:gd name="connsiteX312" fmla="*/ 3289434 w 24198144"/>
                <a:gd name="connsiteY312" fmla="*/ 0 h 8228193"/>
                <a:gd name="connsiteX313" fmla="*/ 3289434 w 24198144"/>
                <a:gd name="connsiteY313" fmla="*/ 64655 h 8228193"/>
                <a:gd name="connsiteX314" fmla="*/ 3047710 w 24198144"/>
                <a:gd name="connsiteY314" fmla="*/ 64655 h 8228193"/>
                <a:gd name="connsiteX315" fmla="*/ 2539343 w 24198144"/>
                <a:gd name="connsiteY315" fmla="*/ 0 h 8228193"/>
                <a:gd name="connsiteX316" fmla="*/ 2794772 w 24198144"/>
                <a:gd name="connsiteY316" fmla="*/ 0 h 8228193"/>
                <a:gd name="connsiteX317" fmla="*/ 2794772 w 24198144"/>
                <a:gd name="connsiteY317" fmla="*/ 64655 h 8228193"/>
                <a:gd name="connsiteX318" fmla="*/ 2539343 w 24198144"/>
                <a:gd name="connsiteY318" fmla="*/ 64655 h 8228193"/>
                <a:gd name="connsiteX319" fmla="*/ 2032222 w 24198144"/>
                <a:gd name="connsiteY319" fmla="*/ 0 h 8228193"/>
                <a:gd name="connsiteX320" fmla="*/ 2286406 w 24198144"/>
                <a:gd name="connsiteY320" fmla="*/ 0 h 8228193"/>
                <a:gd name="connsiteX321" fmla="*/ 2286406 w 24198144"/>
                <a:gd name="connsiteY321" fmla="*/ 64655 h 8228193"/>
                <a:gd name="connsiteX322" fmla="*/ 2032222 w 24198144"/>
                <a:gd name="connsiteY322" fmla="*/ 64655 h 8228193"/>
                <a:gd name="connsiteX323" fmla="*/ 1523855 w 24198144"/>
                <a:gd name="connsiteY323" fmla="*/ 0 h 8228193"/>
                <a:gd name="connsiteX324" fmla="*/ 1778038 w 24198144"/>
                <a:gd name="connsiteY324" fmla="*/ 0 h 8228193"/>
                <a:gd name="connsiteX325" fmla="*/ 1778038 w 24198144"/>
                <a:gd name="connsiteY325" fmla="*/ 64655 h 8228193"/>
                <a:gd name="connsiteX326" fmla="*/ 1523855 w 24198144"/>
                <a:gd name="connsiteY326" fmla="*/ 64655 h 8228193"/>
                <a:gd name="connsiteX327" fmla="*/ 1015488 w 24198144"/>
                <a:gd name="connsiteY327" fmla="*/ 0 h 8228193"/>
                <a:gd name="connsiteX328" fmla="*/ 1269672 w 24198144"/>
                <a:gd name="connsiteY328" fmla="*/ 0 h 8228193"/>
                <a:gd name="connsiteX329" fmla="*/ 1269672 w 24198144"/>
                <a:gd name="connsiteY329" fmla="*/ 64655 h 8228193"/>
                <a:gd name="connsiteX330" fmla="*/ 1015488 w 24198144"/>
                <a:gd name="connsiteY330" fmla="*/ 64655 h 8228193"/>
                <a:gd name="connsiteX331" fmla="*/ 508368 w 24198144"/>
                <a:gd name="connsiteY331" fmla="*/ 0 h 8228193"/>
                <a:gd name="connsiteX332" fmla="*/ 762551 w 24198144"/>
                <a:gd name="connsiteY332" fmla="*/ 0 h 8228193"/>
                <a:gd name="connsiteX333" fmla="*/ 762551 w 24198144"/>
                <a:gd name="connsiteY333" fmla="*/ 64655 h 8228193"/>
                <a:gd name="connsiteX334" fmla="*/ 508368 w 24198144"/>
                <a:gd name="connsiteY334" fmla="*/ 64655 h 8228193"/>
                <a:gd name="connsiteX335" fmla="*/ 0 w 24198144"/>
                <a:gd name="connsiteY335" fmla="*/ 0 h 8228193"/>
                <a:gd name="connsiteX336" fmla="*/ 254184 w 24198144"/>
                <a:gd name="connsiteY336" fmla="*/ 0 h 8228193"/>
                <a:gd name="connsiteX337" fmla="*/ 254184 w 24198144"/>
                <a:gd name="connsiteY337" fmla="*/ 64655 h 8228193"/>
                <a:gd name="connsiteX338" fmla="*/ 0 w 24198144"/>
                <a:gd name="connsiteY338" fmla="*/ 64655 h 8228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</a:cxnLst>
              <a:rect l="l" t="t" r="r" b="b"/>
              <a:pathLst>
                <a:path w="24198144" h="8228193">
                  <a:moveTo>
                    <a:pt x="5611814" y="8158021"/>
                  </a:moveTo>
                  <a:lnTo>
                    <a:pt x="5865935" y="8158021"/>
                  </a:lnTo>
                  <a:lnTo>
                    <a:pt x="5865935" y="8222700"/>
                  </a:lnTo>
                  <a:lnTo>
                    <a:pt x="5611814" y="8222700"/>
                  </a:lnTo>
                  <a:close/>
                  <a:moveTo>
                    <a:pt x="9285671" y="8147343"/>
                  </a:moveTo>
                  <a:lnTo>
                    <a:pt x="9285671" y="8210481"/>
                  </a:lnTo>
                  <a:lnTo>
                    <a:pt x="9031504" y="8211719"/>
                  </a:lnTo>
                  <a:lnTo>
                    <a:pt x="9031504" y="8149819"/>
                  </a:lnTo>
                  <a:close/>
                  <a:moveTo>
                    <a:pt x="9792756" y="8143629"/>
                  </a:moveTo>
                  <a:lnTo>
                    <a:pt x="9794002" y="8206767"/>
                  </a:lnTo>
                  <a:lnTo>
                    <a:pt x="9539836" y="8209243"/>
                  </a:lnTo>
                  <a:lnTo>
                    <a:pt x="9538590" y="8146105"/>
                  </a:lnTo>
                  <a:close/>
                  <a:moveTo>
                    <a:pt x="10301089" y="8139915"/>
                  </a:moveTo>
                  <a:lnTo>
                    <a:pt x="10302334" y="8203053"/>
                  </a:lnTo>
                  <a:lnTo>
                    <a:pt x="10046922" y="8204291"/>
                  </a:lnTo>
                  <a:lnTo>
                    <a:pt x="10046922" y="8141153"/>
                  </a:lnTo>
                  <a:close/>
                  <a:moveTo>
                    <a:pt x="14993353" y="8136356"/>
                  </a:moveTo>
                  <a:lnTo>
                    <a:pt x="14993353" y="8199494"/>
                  </a:lnTo>
                  <a:lnTo>
                    <a:pt x="14740624" y="8200732"/>
                  </a:lnTo>
                  <a:lnTo>
                    <a:pt x="14739379" y="8137594"/>
                  </a:lnTo>
                  <a:close/>
                  <a:moveTo>
                    <a:pt x="10809420" y="8136201"/>
                  </a:moveTo>
                  <a:lnTo>
                    <a:pt x="10809420" y="8199339"/>
                  </a:lnTo>
                  <a:lnTo>
                    <a:pt x="10555254" y="8200577"/>
                  </a:lnTo>
                  <a:lnTo>
                    <a:pt x="10555254" y="8138677"/>
                  </a:lnTo>
                  <a:close/>
                  <a:moveTo>
                    <a:pt x="15501301" y="8132642"/>
                  </a:moveTo>
                  <a:lnTo>
                    <a:pt x="15501301" y="8195780"/>
                  </a:lnTo>
                  <a:lnTo>
                    <a:pt x="15248572" y="8197018"/>
                  </a:lnTo>
                  <a:lnTo>
                    <a:pt x="15247327" y="8133880"/>
                  </a:lnTo>
                  <a:close/>
                  <a:moveTo>
                    <a:pt x="11316507" y="8132487"/>
                  </a:moveTo>
                  <a:lnTo>
                    <a:pt x="11317754" y="8195625"/>
                  </a:lnTo>
                  <a:lnTo>
                    <a:pt x="11063587" y="8196863"/>
                  </a:lnTo>
                  <a:lnTo>
                    <a:pt x="11063587" y="8133725"/>
                  </a:lnTo>
                  <a:close/>
                  <a:moveTo>
                    <a:pt x="16009249" y="8128928"/>
                  </a:moveTo>
                  <a:lnTo>
                    <a:pt x="16009249" y="8192066"/>
                  </a:lnTo>
                  <a:lnTo>
                    <a:pt x="15755275" y="8193304"/>
                  </a:lnTo>
                  <a:lnTo>
                    <a:pt x="15755275" y="8130166"/>
                  </a:lnTo>
                  <a:close/>
                  <a:moveTo>
                    <a:pt x="11824839" y="8128773"/>
                  </a:moveTo>
                  <a:lnTo>
                    <a:pt x="11826085" y="8191911"/>
                  </a:lnTo>
                  <a:lnTo>
                    <a:pt x="11570673" y="8193149"/>
                  </a:lnTo>
                  <a:lnTo>
                    <a:pt x="11570673" y="8131249"/>
                  </a:lnTo>
                  <a:close/>
                  <a:moveTo>
                    <a:pt x="16517198" y="8125214"/>
                  </a:moveTo>
                  <a:lnTo>
                    <a:pt x="16517198" y="8188352"/>
                  </a:lnTo>
                  <a:lnTo>
                    <a:pt x="16263224" y="8190828"/>
                  </a:lnTo>
                  <a:lnTo>
                    <a:pt x="16261978" y="8126452"/>
                  </a:lnTo>
                  <a:close/>
                  <a:moveTo>
                    <a:pt x="23942924" y="8125059"/>
                  </a:moveTo>
                  <a:lnTo>
                    <a:pt x="24198144" y="8125059"/>
                  </a:lnTo>
                  <a:lnTo>
                    <a:pt x="24198144" y="8189714"/>
                  </a:lnTo>
                  <a:lnTo>
                    <a:pt x="23942924" y="8189714"/>
                  </a:lnTo>
                  <a:close/>
                  <a:moveTo>
                    <a:pt x="23436220" y="8125059"/>
                  </a:moveTo>
                  <a:lnTo>
                    <a:pt x="23690194" y="8125059"/>
                  </a:lnTo>
                  <a:lnTo>
                    <a:pt x="23690194" y="8189714"/>
                  </a:lnTo>
                  <a:lnTo>
                    <a:pt x="23436220" y="8189714"/>
                  </a:lnTo>
                  <a:close/>
                  <a:moveTo>
                    <a:pt x="22928272" y="8125059"/>
                  </a:moveTo>
                  <a:lnTo>
                    <a:pt x="23182246" y="8125059"/>
                  </a:lnTo>
                  <a:lnTo>
                    <a:pt x="23182246" y="8189714"/>
                  </a:lnTo>
                  <a:lnTo>
                    <a:pt x="22928272" y="8189714"/>
                  </a:lnTo>
                  <a:close/>
                  <a:moveTo>
                    <a:pt x="22420322" y="8125059"/>
                  </a:moveTo>
                  <a:lnTo>
                    <a:pt x="22675542" y="8125059"/>
                  </a:lnTo>
                  <a:lnTo>
                    <a:pt x="22675542" y="8189714"/>
                  </a:lnTo>
                  <a:lnTo>
                    <a:pt x="22420322" y="8189714"/>
                  </a:lnTo>
                  <a:close/>
                  <a:moveTo>
                    <a:pt x="21913618" y="8125059"/>
                  </a:moveTo>
                  <a:lnTo>
                    <a:pt x="22167592" y="8125059"/>
                  </a:lnTo>
                  <a:lnTo>
                    <a:pt x="22167592" y="8189714"/>
                  </a:lnTo>
                  <a:lnTo>
                    <a:pt x="21913618" y="8189714"/>
                  </a:lnTo>
                  <a:close/>
                  <a:moveTo>
                    <a:pt x="21405670" y="8125059"/>
                  </a:moveTo>
                  <a:lnTo>
                    <a:pt x="21659644" y="8125059"/>
                  </a:lnTo>
                  <a:lnTo>
                    <a:pt x="21659644" y="8189714"/>
                  </a:lnTo>
                  <a:lnTo>
                    <a:pt x="21405670" y="8189714"/>
                  </a:lnTo>
                  <a:close/>
                  <a:moveTo>
                    <a:pt x="20897720" y="8125059"/>
                  </a:moveTo>
                  <a:lnTo>
                    <a:pt x="21151696" y="8125059"/>
                  </a:lnTo>
                  <a:lnTo>
                    <a:pt x="21151696" y="8189714"/>
                  </a:lnTo>
                  <a:lnTo>
                    <a:pt x="20897720" y="8189714"/>
                  </a:lnTo>
                  <a:close/>
                  <a:moveTo>
                    <a:pt x="12331925" y="8125059"/>
                  </a:moveTo>
                  <a:lnTo>
                    <a:pt x="12331925" y="8188197"/>
                  </a:lnTo>
                  <a:lnTo>
                    <a:pt x="12079005" y="8189435"/>
                  </a:lnTo>
                  <a:lnTo>
                    <a:pt x="12079005" y="8126297"/>
                  </a:lnTo>
                  <a:close/>
                  <a:moveTo>
                    <a:pt x="17023900" y="8121500"/>
                  </a:moveTo>
                  <a:lnTo>
                    <a:pt x="17025146" y="8184638"/>
                  </a:lnTo>
                  <a:lnTo>
                    <a:pt x="16771172" y="8185876"/>
                  </a:lnTo>
                  <a:lnTo>
                    <a:pt x="16769927" y="8122738"/>
                  </a:lnTo>
                  <a:close/>
                  <a:moveTo>
                    <a:pt x="17531848" y="8117786"/>
                  </a:moveTo>
                  <a:lnTo>
                    <a:pt x="17531848" y="8180924"/>
                  </a:lnTo>
                  <a:lnTo>
                    <a:pt x="17277874" y="8182162"/>
                  </a:lnTo>
                  <a:lnTo>
                    <a:pt x="17277874" y="8119024"/>
                  </a:lnTo>
                  <a:close/>
                  <a:moveTo>
                    <a:pt x="18039796" y="8114072"/>
                  </a:moveTo>
                  <a:lnTo>
                    <a:pt x="18039796" y="8177210"/>
                  </a:lnTo>
                  <a:lnTo>
                    <a:pt x="17785824" y="8178448"/>
                  </a:lnTo>
                  <a:lnTo>
                    <a:pt x="17785824" y="8115310"/>
                  </a:lnTo>
                  <a:close/>
                  <a:moveTo>
                    <a:pt x="18728390" y="4048795"/>
                  </a:moveTo>
                  <a:lnTo>
                    <a:pt x="18983784" y="4048795"/>
                  </a:lnTo>
                  <a:lnTo>
                    <a:pt x="18983784" y="4113426"/>
                  </a:lnTo>
                  <a:lnTo>
                    <a:pt x="18728390" y="4113426"/>
                  </a:lnTo>
                  <a:close/>
                  <a:moveTo>
                    <a:pt x="18221342" y="4048795"/>
                  </a:moveTo>
                  <a:lnTo>
                    <a:pt x="18475488" y="4048795"/>
                  </a:lnTo>
                  <a:lnTo>
                    <a:pt x="18475488" y="4113426"/>
                  </a:lnTo>
                  <a:lnTo>
                    <a:pt x="18221342" y="4113426"/>
                  </a:lnTo>
                  <a:close/>
                  <a:moveTo>
                    <a:pt x="17713048" y="4048795"/>
                  </a:moveTo>
                  <a:lnTo>
                    <a:pt x="17967196" y="4048795"/>
                  </a:lnTo>
                  <a:lnTo>
                    <a:pt x="17967196" y="4113426"/>
                  </a:lnTo>
                  <a:lnTo>
                    <a:pt x="17713048" y="4113426"/>
                  </a:lnTo>
                  <a:close/>
                  <a:moveTo>
                    <a:pt x="17204754" y="4048795"/>
                  </a:moveTo>
                  <a:lnTo>
                    <a:pt x="17458900" y="4048795"/>
                  </a:lnTo>
                  <a:lnTo>
                    <a:pt x="17458900" y="4113426"/>
                  </a:lnTo>
                  <a:lnTo>
                    <a:pt x="17204754" y="4113426"/>
                  </a:lnTo>
                  <a:close/>
                  <a:moveTo>
                    <a:pt x="16697706" y="4048795"/>
                  </a:moveTo>
                  <a:lnTo>
                    <a:pt x="16951852" y="4048795"/>
                  </a:lnTo>
                  <a:lnTo>
                    <a:pt x="16951852" y="4113426"/>
                  </a:lnTo>
                  <a:lnTo>
                    <a:pt x="16697706" y="4113426"/>
                  </a:lnTo>
                  <a:close/>
                  <a:moveTo>
                    <a:pt x="16189413" y="4048795"/>
                  </a:moveTo>
                  <a:lnTo>
                    <a:pt x="16443560" y="4048795"/>
                  </a:lnTo>
                  <a:lnTo>
                    <a:pt x="16443560" y="4113426"/>
                  </a:lnTo>
                  <a:lnTo>
                    <a:pt x="16189413" y="4113426"/>
                  </a:lnTo>
                  <a:close/>
                  <a:moveTo>
                    <a:pt x="15681119" y="4048795"/>
                  </a:moveTo>
                  <a:lnTo>
                    <a:pt x="15935266" y="4048795"/>
                  </a:lnTo>
                  <a:lnTo>
                    <a:pt x="15935266" y="4113426"/>
                  </a:lnTo>
                  <a:lnTo>
                    <a:pt x="15681119" y="4113426"/>
                  </a:lnTo>
                  <a:close/>
                  <a:moveTo>
                    <a:pt x="15174071" y="4048795"/>
                  </a:moveTo>
                  <a:lnTo>
                    <a:pt x="15426972" y="4048795"/>
                  </a:lnTo>
                  <a:lnTo>
                    <a:pt x="15426972" y="4113426"/>
                  </a:lnTo>
                  <a:lnTo>
                    <a:pt x="15174071" y="4113426"/>
                  </a:lnTo>
                  <a:close/>
                  <a:moveTo>
                    <a:pt x="14665777" y="4048795"/>
                  </a:moveTo>
                  <a:lnTo>
                    <a:pt x="14918678" y="4048795"/>
                  </a:lnTo>
                  <a:lnTo>
                    <a:pt x="14918678" y="4113426"/>
                  </a:lnTo>
                  <a:lnTo>
                    <a:pt x="14665777" y="4113426"/>
                  </a:lnTo>
                  <a:close/>
                  <a:moveTo>
                    <a:pt x="14157483" y="4048795"/>
                  </a:moveTo>
                  <a:lnTo>
                    <a:pt x="14411630" y="4048795"/>
                  </a:lnTo>
                  <a:lnTo>
                    <a:pt x="14411630" y="4113426"/>
                  </a:lnTo>
                  <a:lnTo>
                    <a:pt x="14157483" y="4113426"/>
                  </a:lnTo>
                  <a:close/>
                  <a:moveTo>
                    <a:pt x="13649190" y="4048795"/>
                  </a:moveTo>
                  <a:lnTo>
                    <a:pt x="13903336" y="4048795"/>
                  </a:lnTo>
                  <a:lnTo>
                    <a:pt x="13903336" y="4113426"/>
                  </a:lnTo>
                  <a:lnTo>
                    <a:pt x="13649190" y="4113426"/>
                  </a:lnTo>
                  <a:close/>
                  <a:moveTo>
                    <a:pt x="13142142" y="4048795"/>
                  </a:moveTo>
                  <a:lnTo>
                    <a:pt x="13395042" y="4048795"/>
                  </a:lnTo>
                  <a:lnTo>
                    <a:pt x="13395042" y="4113426"/>
                  </a:lnTo>
                  <a:lnTo>
                    <a:pt x="13142142" y="4113426"/>
                  </a:lnTo>
                  <a:close/>
                  <a:moveTo>
                    <a:pt x="12633848" y="4048795"/>
                  </a:moveTo>
                  <a:lnTo>
                    <a:pt x="12887994" y="4048795"/>
                  </a:lnTo>
                  <a:lnTo>
                    <a:pt x="12887994" y="4113426"/>
                  </a:lnTo>
                  <a:lnTo>
                    <a:pt x="12633848" y="4113426"/>
                  </a:lnTo>
                  <a:close/>
                  <a:moveTo>
                    <a:pt x="12126800" y="4048795"/>
                  </a:moveTo>
                  <a:lnTo>
                    <a:pt x="12379701" y="4048795"/>
                  </a:lnTo>
                  <a:lnTo>
                    <a:pt x="12379701" y="4113426"/>
                  </a:lnTo>
                  <a:lnTo>
                    <a:pt x="12126800" y="4113426"/>
                  </a:lnTo>
                  <a:close/>
                  <a:moveTo>
                    <a:pt x="11618506" y="4048795"/>
                  </a:moveTo>
                  <a:lnTo>
                    <a:pt x="11872653" y="4048795"/>
                  </a:lnTo>
                  <a:lnTo>
                    <a:pt x="11872653" y="4113426"/>
                  </a:lnTo>
                  <a:lnTo>
                    <a:pt x="11618506" y="4113426"/>
                  </a:lnTo>
                  <a:close/>
                  <a:moveTo>
                    <a:pt x="11111458" y="4048795"/>
                  </a:moveTo>
                  <a:lnTo>
                    <a:pt x="11365605" y="4048795"/>
                  </a:lnTo>
                  <a:lnTo>
                    <a:pt x="11365605" y="4113426"/>
                  </a:lnTo>
                  <a:lnTo>
                    <a:pt x="11111458" y="4113426"/>
                  </a:lnTo>
                  <a:close/>
                  <a:moveTo>
                    <a:pt x="10603164" y="4048795"/>
                  </a:moveTo>
                  <a:lnTo>
                    <a:pt x="10857311" y="4048795"/>
                  </a:lnTo>
                  <a:lnTo>
                    <a:pt x="10857311" y="4113426"/>
                  </a:lnTo>
                  <a:lnTo>
                    <a:pt x="10603164" y="4113426"/>
                  </a:lnTo>
                  <a:close/>
                  <a:moveTo>
                    <a:pt x="10094871" y="4048795"/>
                  </a:moveTo>
                  <a:lnTo>
                    <a:pt x="10349018" y="4048795"/>
                  </a:lnTo>
                  <a:lnTo>
                    <a:pt x="10349018" y="4113426"/>
                  </a:lnTo>
                  <a:lnTo>
                    <a:pt x="10094871" y="4113426"/>
                  </a:lnTo>
                  <a:close/>
                  <a:moveTo>
                    <a:pt x="9586576" y="4048795"/>
                  </a:moveTo>
                  <a:lnTo>
                    <a:pt x="9841970" y="4048795"/>
                  </a:lnTo>
                  <a:lnTo>
                    <a:pt x="9841970" y="4113426"/>
                  </a:lnTo>
                  <a:lnTo>
                    <a:pt x="9586576" y="4113426"/>
                  </a:lnTo>
                  <a:close/>
                  <a:moveTo>
                    <a:pt x="9079529" y="4048795"/>
                  </a:moveTo>
                  <a:lnTo>
                    <a:pt x="9333676" y="4048795"/>
                  </a:lnTo>
                  <a:lnTo>
                    <a:pt x="9333676" y="4113426"/>
                  </a:lnTo>
                  <a:lnTo>
                    <a:pt x="9079529" y="4113426"/>
                  </a:lnTo>
                  <a:close/>
                  <a:moveTo>
                    <a:pt x="8571235" y="4048795"/>
                  </a:moveTo>
                  <a:lnTo>
                    <a:pt x="8825383" y="4048795"/>
                  </a:lnTo>
                  <a:lnTo>
                    <a:pt x="8825383" y="4113426"/>
                  </a:lnTo>
                  <a:lnTo>
                    <a:pt x="8571235" y="4113426"/>
                  </a:lnTo>
                  <a:close/>
                  <a:moveTo>
                    <a:pt x="8062944" y="4048795"/>
                  </a:moveTo>
                  <a:lnTo>
                    <a:pt x="8317091" y="4048795"/>
                  </a:lnTo>
                  <a:lnTo>
                    <a:pt x="8317091" y="4113426"/>
                  </a:lnTo>
                  <a:lnTo>
                    <a:pt x="8062944" y="4113426"/>
                  </a:lnTo>
                  <a:close/>
                  <a:moveTo>
                    <a:pt x="7555896" y="4048795"/>
                  </a:moveTo>
                  <a:lnTo>
                    <a:pt x="7810042" y="4048795"/>
                  </a:lnTo>
                  <a:lnTo>
                    <a:pt x="7810042" y="4113426"/>
                  </a:lnTo>
                  <a:lnTo>
                    <a:pt x="7555896" y="4113426"/>
                  </a:lnTo>
                  <a:close/>
                  <a:moveTo>
                    <a:pt x="7047602" y="4048795"/>
                  </a:moveTo>
                  <a:lnTo>
                    <a:pt x="7301749" y="4048795"/>
                  </a:lnTo>
                  <a:lnTo>
                    <a:pt x="7301749" y="4113426"/>
                  </a:lnTo>
                  <a:lnTo>
                    <a:pt x="7047602" y="4113426"/>
                  </a:lnTo>
                  <a:close/>
                  <a:moveTo>
                    <a:pt x="6539309" y="4048795"/>
                  </a:moveTo>
                  <a:lnTo>
                    <a:pt x="6793455" y="4048795"/>
                  </a:lnTo>
                  <a:lnTo>
                    <a:pt x="6793455" y="4113426"/>
                  </a:lnTo>
                  <a:lnTo>
                    <a:pt x="6539309" y="4113426"/>
                  </a:lnTo>
                  <a:close/>
                  <a:moveTo>
                    <a:pt x="6032260" y="4048795"/>
                  </a:moveTo>
                  <a:lnTo>
                    <a:pt x="6285161" y="4048795"/>
                  </a:lnTo>
                  <a:lnTo>
                    <a:pt x="6285161" y="4113426"/>
                  </a:lnTo>
                  <a:lnTo>
                    <a:pt x="6032260" y="4113426"/>
                  </a:lnTo>
                  <a:close/>
                  <a:moveTo>
                    <a:pt x="5523967" y="4048795"/>
                  </a:moveTo>
                  <a:lnTo>
                    <a:pt x="5776867" y="4048795"/>
                  </a:lnTo>
                  <a:lnTo>
                    <a:pt x="5776867" y="4113426"/>
                  </a:lnTo>
                  <a:lnTo>
                    <a:pt x="5523967" y="4113426"/>
                  </a:lnTo>
                  <a:close/>
                  <a:moveTo>
                    <a:pt x="5015673" y="4048795"/>
                  </a:moveTo>
                  <a:lnTo>
                    <a:pt x="5179238" y="4048795"/>
                  </a:lnTo>
                  <a:lnTo>
                    <a:pt x="5269820" y="4048795"/>
                  </a:lnTo>
                  <a:lnTo>
                    <a:pt x="5269820" y="4113426"/>
                  </a:lnTo>
                  <a:lnTo>
                    <a:pt x="5135565" y="4113426"/>
                  </a:lnTo>
                  <a:lnTo>
                    <a:pt x="4997845" y="4120701"/>
                  </a:lnTo>
                  <a:cubicBezTo>
                    <a:pt x="4817543" y="4139865"/>
                    <a:pt x="4641097" y="4187776"/>
                    <a:pt x="4473764" y="4264434"/>
                  </a:cubicBezTo>
                  <a:cubicBezTo>
                    <a:pt x="4250656" y="4366644"/>
                    <a:pt x="4047488" y="4516220"/>
                    <a:pt x="3876728" y="4704436"/>
                  </a:cubicBezTo>
                  <a:cubicBezTo>
                    <a:pt x="3704722" y="4892652"/>
                    <a:pt x="3568862" y="5115770"/>
                    <a:pt x="3476627" y="5361323"/>
                  </a:cubicBezTo>
                  <a:cubicBezTo>
                    <a:pt x="3383145" y="5608123"/>
                    <a:pt x="3337028" y="5872374"/>
                    <a:pt x="3337028" y="6137871"/>
                  </a:cubicBezTo>
                  <a:cubicBezTo>
                    <a:pt x="3337028" y="6403368"/>
                    <a:pt x="3383145" y="6667619"/>
                    <a:pt x="3476627" y="6914419"/>
                  </a:cubicBezTo>
                  <a:cubicBezTo>
                    <a:pt x="3568862" y="7159973"/>
                    <a:pt x="3704722" y="7383090"/>
                    <a:pt x="3876728" y="7571306"/>
                  </a:cubicBezTo>
                  <a:cubicBezTo>
                    <a:pt x="4047488" y="7759523"/>
                    <a:pt x="4250656" y="7909099"/>
                    <a:pt x="4473764" y="8011309"/>
                  </a:cubicBezTo>
                  <a:cubicBezTo>
                    <a:pt x="4641097" y="8087966"/>
                    <a:pt x="4817543" y="8135877"/>
                    <a:pt x="4997845" y="8155042"/>
                  </a:cubicBezTo>
                  <a:lnTo>
                    <a:pt x="5103570" y="8160627"/>
                  </a:lnTo>
                  <a:lnTo>
                    <a:pt x="5103570" y="8158021"/>
                  </a:lnTo>
                  <a:lnTo>
                    <a:pt x="5357691" y="8158021"/>
                  </a:lnTo>
                  <a:lnTo>
                    <a:pt x="5357691" y="8222700"/>
                  </a:lnTo>
                  <a:lnTo>
                    <a:pt x="5179238" y="8222700"/>
                  </a:lnTo>
                  <a:lnTo>
                    <a:pt x="5179238" y="8228193"/>
                  </a:lnTo>
                  <a:cubicBezTo>
                    <a:pt x="4928708" y="8228193"/>
                    <a:pt x="4681917" y="8173349"/>
                    <a:pt x="4451329" y="8068646"/>
                  </a:cubicBezTo>
                  <a:cubicBezTo>
                    <a:pt x="4221987" y="7963943"/>
                    <a:pt x="4011342" y="7809381"/>
                    <a:pt x="3835596" y="7616179"/>
                  </a:cubicBezTo>
                  <a:cubicBezTo>
                    <a:pt x="3658605" y="7421731"/>
                    <a:pt x="3519005" y="7191134"/>
                    <a:pt x="3424277" y="6938102"/>
                  </a:cubicBezTo>
                  <a:cubicBezTo>
                    <a:pt x="3328303" y="6683823"/>
                    <a:pt x="3279693" y="6412093"/>
                    <a:pt x="3279693" y="6137871"/>
                  </a:cubicBezTo>
                  <a:cubicBezTo>
                    <a:pt x="3279693" y="5863649"/>
                    <a:pt x="3328303" y="5591919"/>
                    <a:pt x="3424277" y="5337640"/>
                  </a:cubicBezTo>
                  <a:cubicBezTo>
                    <a:pt x="3519005" y="5084608"/>
                    <a:pt x="3658605" y="4854012"/>
                    <a:pt x="3835596" y="4659563"/>
                  </a:cubicBezTo>
                  <a:cubicBezTo>
                    <a:pt x="4011342" y="4466361"/>
                    <a:pt x="4221987" y="4311799"/>
                    <a:pt x="4451329" y="4207096"/>
                  </a:cubicBezTo>
                  <a:cubicBezTo>
                    <a:pt x="4624269" y="4128569"/>
                    <a:pt x="4806325" y="4078788"/>
                    <a:pt x="4992235" y="4058806"/>
                  </a:cubicBezTo>
                  <a:lnTo>
                    <a:pt x="5015673" y="4057552"/>
                  </a:lnTo>
                  <a:close/>
                  <a:moveTo>
                    <a:pt x="19244148" y="4"/>
                  </a:moveTo>
                  <a:cubicBezTo>
                    <a:pt x="19493432" y="4"/>
                    <a:pt x="19740222" y="53587"/>
                    <a:pt x="19972056" y="155770"/>
                  </a:cubicBezTo>
                  <a:cubicBezTo>
                    <a:pt x="20201398" y="260445"/>
                    <a:pt x="20410796" y="411227"/>
                    <a:pt x="20587788" y="601884"/>
                  </a:cubicBezTo>
                  <a:cubicBezTo>
                    <a:pt x="20763534" y="793788"/>
                    <a:pt x="20903134" y="1020584"/>
                    <a:pt x="20999108" y="1269810"/>
                  </a:cubicBezTo>
                  <a:cubicBezTo>
                    <a:pt x="21093836" y="1520281"/>
                    <a:pt x="21143692" y="1786953"/>
                    <a:pt x="21143692" y="2057363"/>
                  </a:cubicBezTo>
                  <a:cubicBezTo>
                    <a:pt x="21143692" y="2327773"/>
                    <a:pt x="21093836" y="2594444"/>
                    <a:pt x="20999108" y="2844916"/>
                  </a:cubicBezTo>
                  <a:cubicBezTo>
                    <a:pt x="20903134" y="3094142"/>
                    <a:pt x="20763534" y="3320938"/>
                    <a:pt x="20587788" y="3512842"/>
                  </a:cubicBezTo>
                  <a:cubicBezTo>
                    <a:pt x="20410796" y="3703499"/>
                    <a:pt x="20201398" y="3854281"/>
                    <a:pt x="19972056" y="3957710"/>
                  </a:cubicBezTo>
                  <a:cubicBezTo>
                    <a:pt x="19798180" y="4036216"/>
                    <a:pt x="19615892" y="4084582"/>
                    <a:pt x="19430448" y="4103858"/>
                  </a:cubicBezTo>
                  <a:lnTo>
                    <a:pt x="19363756" y="4107301"/>
                  </a:lnTo>
                  <a:lnTo>
                    <a:pt x="19363756" y="4113426"/>
                  </a:lnTo>
                  <a:lnTo>
                    <a:pt x="19245126" y="4113426"/>
                  </a:lnTo>
                  <a:lnTo>
                    <a:pt x="19244148" y="4113476"/>
                  </a:lnTo>
                  <a:lnTo>
                    <a:pt x="19244148" y="4113426"/>
                  </a:lnTo>
                  <a:lnTo>
                    <a:pt x="19236684" y="4113426"/>
                  </a:lnTo>
                  <a:lnTo>
                    <a:pt x="19236684" y="4048795"/>
                  </a:lnTo>
                  <a:lnTo>
                    <a:pt x="19334386" y="4048795"/>
                  </a:lnTo>
                  <a:lnTo>
                    <a:pt x="19425014" y="4043907"/>
                  </a:lnTo>
                  <a:cubicBezTo>
                    <a:pt x="19605142" y="4024456"/>
                    <a:pt x="19782290" y="3976090"/>
                    <a:pt x="19949622" y="3900388"/>
                  </a:cubicBezTo>
                  <a:cubicBezTo>
                    <a:pt x="20172730" y="3800697"/>
                    <a:pt x="20375898" y="3654900"/>
                    <a:pt x="20546656" y="3469227"/>
                  </a:cubicBezTo>
                  <a:cubicBezTo>
                    <a:pt x="20718664" y="3283554"/>
                    <a:pt x="20854522" y="3062989"/>
                    <a:pt x="20946758" y="2821240"/>
                  </a:cubicBezTo>
                  <a:cubicBezTo>
                    <a:pt x="21038994" y="2579491"/>
                    <a:pt x="21086358" y="2320296"/>
                    <a:pt x="21086358" y="2057363"/>
                  </a:cubicBezTo>
                  <a:cubicBezTo>
                    <a:pt x="21086358" y="1795676"/>
                    <a:pt x="21038994" y="1535235"/>
                    <a:pt x="20946758" y="1293486"/>
                  </a:cubicBezTo>
                  <a:cubicBezTo>
                    <a:pt x="20854522" y="1051737"/>
                    <a:pt x="20718664" y="831172"/>
                    <a:pt x="20546656" y="646745"/>
                  </a:cubicBezTo>
                  <a:cubicBezTo>
                    <a:pt x="20375898" y="461072"/>
                    <a:pt x="20172730" y="314028"/>
                    <a:pt x="19949622" y="213092"/>
                  </a:cubicBezTo>
                  <a:cubicBezTo>
                    <a:pt x="19726512" y="112156"/>
                    <a:pt x="19485952" y="61064"/>
                    <a:pt x="19244148" y="61064"/>
                  </a:cubicBezTo>
                  <a:close/>
                  <a:moveTo>
                    <a:pt x="18600290" y="0"/>
                  </a:moveTo>
                  <a:lnTo>
                    <a:pt x="18852850" y="0"/>
                  </a:lnTo>
                  <a:lnTo>
                    <a:pt x="18852850" y="64655"/>
                  </a:lnTo>
                  <a:lnTo>
                    <a:pt x="18600290" y="64655"/>
                  </a:lnTo>
                  <a:close/>
                  <a:moveTo>
                    <a:pt x="18092680" y="0"/>
                  </a:moveTo>
                  <a:lnTo>
                    <a:pt x="18345242" y="0"/>
                  </a:lnTo>
                  <a:lnTo>
                    <a:pt x="18345242" y="64655"/>
                  </a:lnTo>
                  <a:lnTo>
                    <a:pt x="18092680" y="64655"/>
                  </a:lnTo>
                  <a:close/>
                  <a:moveTo>
                    <a:pt x="17585072" y="0"/>
                  </a:moveTo>
                  <a:lnTo>
                    <a:pt x="17838876" y="0"/>
                  </a:lnTo>
                  <a:lnTo>
                    <a:pt x="17838876" y="64655"/>
                  </a:lnTo>
                  <a:lnTo>
                    <a:pt x="17585072" y="64655"/>
                  </a:lnTo>
                  <a:close/>
                  <a:moveTo>
                    <a:pt x="14231493" y="0"/>
                  </a:moveTo>
                  <a:lnTo>
                    <a:pt x="14485424" y="0"/>
                  </a:lnTo>
                  <a:lnTo>
                    <a:pt x="14485424" y="64655"/>
                  </a:lnTo>
                  <a:lnTo>
                    <a:pt x="14231493" y="64655"/>
                  </a:lnTo>
                  <a:close/>
                  <a:moveTo>
                    <a:pt x="13724874" y="0"/>
                  </a:moveTo>
                  <a:lnTo>
                    <a:pt x="13977561" y="0"/>
                  </a:lnTo>
                  <a:lnTo>
                    <a:pt x="13977561" y="64655"/>
                  </a:lnTo>
                  <a:lnTo>
                    <a:pt x="13724874" y="64655"/>
                  </a:lnTo>
                  <a:close/>
                  <a:moveTo>
                    <a:pt x="13217011" y="0"/>
                  </a:moveTo>
                  <a:lnTo>
                    <a:pt x="13469698" y="0"/>
                  </a:lnTo>
                  <a:lnTo>
                    <a:pt x="13469698" y="64655"/>
                  </a:lnTo>
                  <a:lnTo>
                    <a:pt x="13217011" y="64655"/>
                  </a:lnTo>
                  <a:close/>
                  <a:moveTo>
                    <a:pt x="12709148" y="0"/>
                  </a:moveTo>
                  <a:lnTo>
                    <a:pt x="12963080" y="0"/>
                  </a:lnTo>
                  <a:lnTo>
                    <a:pt x="12963080" y="64655"/>
                  </a:lnTo>
                  <a:lnTo>
                    <a:pt x="12709148" y="64655"/>
                  </a:lnTo>
                  <a:close/>
                  <a:moveTo>
                    <a:pt x="12202529" y="0"/>
                  </a:moveTo>
                  <a:lnTo>
                    <a:pt x="12455216" y="0"/>
                  </a:lnTo>
                  <a:lnTo>
                    <a:pt x="12455216" y="64655"/>
                  </a:lnTo>
                  <a:lnTo>
                    <a:pt x="12202529" y="64655"/>
                  </a:lnTo>
                  <a:close/>
                  <a:moveTo>
                    <a:pt x="11695912" y="0"/>
                  </a:moveTo>
                  <a:lnTo>
                    <a:pt x="11948598" y="0"/>
                  </a:lnTo>
                  <a:lnTo>
                    <a:pt x="11948598" y="64655"/>
                  </a:lnTo>
                  <a:lnTo>
                    <a:pt x="11695912" y="64655"/>
                  </a:lnTo>
                  <a:close/>
                  <a:moveTo>
                    <a:pt x="8380405" y="0"/>
                  </a:moveTo>
                  <a:lnTo>
                    <a:pt x="8634720" y="0"/>
                  </a:lnTo>
                  <a:lnTo>
                    <a:pt x="8634720" y="64655"/>
                  </a:lnTo>
                  <a:lnTo>
                    <a:pt x="8380405" y="64655"/>
                  </a:lnTo>
                  <a:close/>
                  <a:moveTo>
                    <a:pt x="7871770" y="0"/>
                  </a:moveTo>
                  <a:lnTo>
                    <a:pt x="8127334" y="0"/>
                  </a:lnTo>
                  <a:lnTo>
                    <a:pt x="8127334" y="64655"/>
                  </a:lnTo>
                  <a:lnTo>
                    <a:pt x="7871770" y="64655"/>
                  </a:lnTo>
                  <a:close/>
                  <a:moveTo>
                    <a:pt x="7364381" y="0"/>
                  </a:moveTo>
                  <a:lnTo>
                    <a:pt x="7618699" y="0"/>
                  </a:lnTo>
                  <a:lnTo>
                    <a:pt x="7618699" y="64655"/>
                  </a:lnTo>
                  <a:lnTo>
                    <a:pt x="7364381" y="64655"/>
                  </a:lnTo>
                  <a:close/>
                  <a:moveTo>
                    <a:pt x="6855744" y="0"/>
                  </a:moveTo>
                  <a:lnTo>
                    <a:pt x="7110063" y="0"/>
                  </a:lnTo>
                  <a:lnTo>
                    <a:pt x="7110063" y="64655"/>
                  </a:lnTo>
                  <a:lnTo>
                    <a:pt x="6855744" y="64655"/>
                  </a:lnTo>
                  <a:close/>
                  <a:moveTo>
                    <a:pt x="6347110" y="0"/>
                  </a:moveTo>
                  <a:lnTo>
                    <a:pt x="6602673" y="0"/>
                  </a:lnTo>
                  <a:lnTo>
                    <a:pt x="6602673" y="64655"/>
                  </a:lnTo>
                  <a:lnTo>
                    <a:pt x="6347110" y="64655"/>
                  </a:lnTo>
                  <a:close/>
                  <a:moveTo>
                    <a:pt x="5839721" y="0"/>
                  </a:moveTo>
                  <a:lnTo>
                    <a:pt x="6094038" y="0"/>
                  </a:lnTo>
                  <a:lnTo>
                    <a:pt x="6094038" y="64655"/>
                  </a:lnTo>
                  <a:lnTo>
                    <a:pt x="5839721" y="64655"/>
                  </a:lnTo>
                  <a:close/>
                  <a:moveTo>
                    <a:pt x="3047710" y="0"/>
                  </a:moveTo>
                  <a:lnTo>
                    <a:pt x="3289434" y="0"/>
                  </a:lnTo>
                  <a:lnTo>
                    <a:pt x="3289434" y="64655"/>
                  </a:lnTo>
                  <a:lnTo>
                    <a:pt x="3047710" y="64655"/>
                  </a:lnTo>
                  <a:close/>
                  <a:moveTo>
                    <a:pt x="2539343" y="0"/>
                  </a:moveTo>
                  <a:lnTo>
                    <a:pt x="2794772" y="0"/>
                  </a:lnTo>
                  <a:lnTo>
                    <a:pt x="2794772" y="64655"/>
                  </a:lnTo>
                  <a:lnTo>
                    <a:pt x="2539343" y="64655"/>
                  </a:lnTo>
                  <a:close/>
                  <a:moveTo>
                    <a:pt x="2032222" y="0"/>
                  </a:moveTo>
                  <a:lnTo>
                    <a:pt x="2286406" y="0"/>
                  </a:lnTo>
                  <a:lnTo>
                    <a:pt x="2286406" y="64655"/>
                  </a:lnTo>
                  <a:lnTo>
                    <a:pt x="2032222" y="64655"/>
                  </a:lnTo>
                  <a:close/>
                  <a:moveTo>
                    <a:pt x="1523855" y="0"/>
                  </a:moveTo>
                  <a:lnTo>
                    <a:pt x="1778038" y="0"/>
                  </a:lnTo>
                  <a:lnTo>
                    <a:pt x="1778038" y="64655"/>
                  </a:lnTo>
                  <a:lnTo>
                    <a:pt x="1523855" y="64655"/>
                  </a:lnTo>
                  <a:close/>
                  <a:moveTo>
                    <a:pt x="1015488" y="0"/>
                  </a:moveTo>
                  <a:lnTo>
                    <a:pt x="1269672" y="0"/>
                  </a:lnTo>
                  <a:lnTo>
                    <a:pt x="1269672" y="64655"/>
                  </a:lnTo>
                  <a:lnTo>
                    <a:pt x="1015488" y="64655"/>
                  </a:lnTo>
                  <a:close/>
                  <a:moveTo>
                    <a:pt x="508368" y="0"/>
                  </a:moveTo>
                  <a:lnTo>
                    <a:pt x="762551" y="0"/>
                  </a:lnTo>
                  <a:lnTo>
                    <a:pt x="762551" y="64655"/>
                  </a:lnTo>
                  <a:lnTo>
                    <a:pt x="508368" y="64655"/>
                  </a:lnTo>
                  <a:close/>
                  <a:moveTo>
                    <a:pt x="0" y="0"/>
                  </a:moveTo>
                  <a:lnTo>
                    <a:pt x="254184" y="0"/>
                  </a:lnTo>
                  <a:lnTo>
                    <a:pt x="254184" y="64655"/>
                  </a:lnTo>
                  <a:lnTo>
                    <a:pt x="0" y="6465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53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F681CCBA-B43E-400E-9074-ECD80A9D6F4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00226" y="4706212"/>
            <a:ext cx="698341" cy="825311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F9BD43F2-5294-41AD-A4FA-9CA1A0FF7257}"/>
              </a:ext>
            </a:extLst>
          </p:cNvPr>
          <p:cNvSpPr/>
          <p:nvPr/>
        </p:nvSpPr>
        <p:spPr>
          <a:xfrm>
            <a:off x="-167442" y="889971"/>
            <a:ext cx="2206493" cy="4466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Team Formation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384E4B2-7F61-42D0-B8D8-7BC5C8022C04}"/>
              </a:ext>
            </a:extLst>
          </p:cNvPr>
          <p:cNvSpPr/>
          <p:nvPr/>
        </p:nvSpPr>
        <p:spPr>
          <a:xfrm>
            <a:off x="480641" y="1243689"/>
            <a:ext cx="905256" cy="900658"/>
          </a:xfrm>
          <a:prstGeom prst="ellipse">
            <a:avLst/>
          </a:prstGeom>
          <a:solidFill>
            <a:srgbClr val="00844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GB" sz="1600" dirty="0">
              <a:solidFill>
                <a:srgbClr val="FFFFFF"/>
              </a:solidFill>
              <a:latin typeface="Futura Medium"/>
            </a:endParaRPr>
          </a:p>
        </p:txBody>
      </p:sp>
      <p:pic>
        <p:nvPicPr>
          <p:cNvPr id="25" name="Graphic 24" descr="Group brainstorm">
            <a:extLst>
              <a:ext uri="{FF2B5EF4-FFF2-40B4-BE49-F238E27FC236}">
                <a16:creationId xmlns:a16="http://schemas.microsoft.com/office/drawing/2014/main" id="{EFBE827A-2026-454F-BB9A-590D6307E1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1119" y="1306097"/>
            <a:ext cx="633600" cy="633600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BC784493-E2EA-4A93-86DB-E665B0ABB018}"/>
              </a:ext>
            </a:extLst>
          </p:cNvPr>
          <p:cNvSpPr/>
          <p:nvPr/>
        </p:nvSpPr>
        <p:spPr>
          <a:xfrm>
            <a:off x="316045" y="2111307"/>
            <a:ext cx="1280160" cy="385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tx1"/>
                </a:solidFill>
                <a:latin typeface="Futura Medium"/>
              </a:rPr>
              <a:t>10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Feb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CD7420C-6351-49C5-B6CE-2EB79133E90F}"/>
              </a:ext>
            </a:extLst>
          </p:cNvPr>
          <p:cNvSpPr/>
          <p:nvPr/>
        </p:nvSpPr>
        <p:spPr>
          <a:xfrm>
            <a:off x="7139626" y="816696"/>
            <a:ext cx="1603763" cy="4033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595959"/>
                </a:solidFill>
                <a:latin typeface="Futura Medium"/>
              </a:rPr>
              <a:t>STOGG Competitive Scoping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Workshop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BBE9E06-77AC-4016-B245-B6387980960A}"/>
              </a:ext>
            </a:extLst>
          </p:cNvPr>
          <p:cNvSpPr/>
          <p:nvPr/>
        </p:nvSpPr>
        <p:spPr>
          <a:xfrm>
            <a:off x="5876846" y="2853998"/>
            <a:ext cx="1704041" cy="385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lvl="0" algn="ctr"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Strawman – PT2020 Application to STOGG Delivery</a:t>
            </a:r>
            <a:endParaRPr lang="en-US" sz="1200" b="1" dirty="0">
              <a:solidFill>
                <a:srgbClr val="595959"/>
              </a:solidFill>
              <a:latin typeface="Futura Medium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908CA38-8034-4140-A840-5AE697701B75}"/>
              </a:ext>
            </a:extLst>
          </p:cNvPr>
          <p:cNvSpPr/>
          <p:nvPr/>
        </p:nvSpPr>
        <p:spPr>
          <a:xfrm>
            <a:off x="6465362" y="4172511"/>
            <a:ext cx="716400" cy="385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595959"/>
                </a:solidFill>
                <a:latin typeface="Futura Medium"/>
              </a:rPr>
              <a:t>15 May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A17104C-65AC-4CC1-99E8-1FBA1E0BDF44}"/>
              </a:ext>
            </a:extLst>
          </p:cNvPr>
          <p:cNvSpPr/>
          <p:nvPr/>
        </p:nvSpPr>
        <p:spPr>
          <a:xfrm>
            <a:off x="9489590" y="1793343"/>
            <a:ext cx="1913254" cy="351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tx1"/>
                </a:solidFill>
                <a:latin typeface="Futura Medium"/>
              </a:rPr>
              <a:t>STOGG Efficient Execution Workshop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9C25349-17EE-46C9-99F4-E2C51F0F7650}"/>
              </a:ext>
            </a:extLst>
          </p:cNvPr>
          <p:cNvSpPr/>
          <p:nvPr/>
        </p:nvSpPr>
        <p:spPr>
          <a:xfrm>
            <a:off x="10151165" y="3047047"/>
            <a:ext cx="772930" cy="346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tx1"/>
                </a:solidFill>
                <a:latin typeface="Futura Medium"/>
              </a:rPr>
              <a:t>05 May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C32AC2D-031D-4D54-AA85-C8DD924CDC4D}"/>
              </a:ext>
            </a:extLst>
          </p:cNvPr>
          <p:cNvSpPr/>
          <p:nvPr/>
        </p:nvSpPr>
        <p:spPr>
          <a:xfrm>
            <a:off x="1878768" y="2850762"/>
            <a:ext cx="1695728" cy="4647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PTD SPB Engagemen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84545BF-C0D4-4CD7-AED1-3C2F8EF9B46C}"/>
              </a:ext>
            </a:extLst>
          </p:cNvPr>
          <p:cNvSpPr/>
          <p:nvPr/>
        </p:nvSpPr>
        <p:spPr>
          <a:xfrm>
            <a:off x="2857703" y="4194776"/>
            <a:ext cx="716400" cy="385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30 May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0C77099-1BA1-43A5-B7C0-6B325243BA90}"/>
              </a:ext>
            </a:extLst>
          </p:cNvPr>
          <p:cNvSpPr/>
          <p:nvPr/>
        </p:nvSpPr>
        <p:spPr>
          <a:xfrm>
            <a:off x="3296045" y="6304752"/>
            <a:ext cx="2161621" cy="5033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lvl="0" algn="ctr">
              <a:defRPr/>
            </a:pPr>
            <a:r>
              <a:rPr lang="en-US" sz="1200" b="1" dirty="0">
                <a:solidFill>
                  <a:srgbClr val="595959"/>
                </a:solidFill>
                <a:latin typeface="Futura Medium"/>
              </a:rPr>
              <a:t>Final Guide – PT2020 Application to STOGG Delivery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4C35B45-3FF9-401E-AB0B-64FBB887A2BA}"/>
              </a:ext>
            </a:extLst>
          </p:cNvPr>
          <p:cNvSpPr/>
          <p:nvPr/>
        </p:nvSpPr>
        <p:spPr>
          <a:xfrm>
            <a:off x="4031529" y="5010004"/>
            <a:ext cx="716400" cy="3850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595959"/>
                </a:solidFill>
                <a:latin typeface="Futura Medium"/>
              </a:rPr>
              <a:t>15 Jun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A8ADBF93-C2CD-4727-BA13-4D5734F02E87}"/>
              </a:ext>
            </a:extLst>
          </p:cNvPr>
          <p:cNvSpPr/>
          <p:nvPr/>
        </p:nvSpPr>
        <p:spPr>
          <a:xfrm>
            <a:off x="4391836" y="897133"/>
            <a:ext cx="1321077" cy="3173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lvl="0" algn="ctr"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Opportunity Framing Workshop</a:t>
            </a:r>
            <a:endParaRPr lang="en-US" sz="1200" b="1" dirty="0">
              <a:solidFill>
                <a:srgbClr val="595959"/>
              </a:solidFill>
              <a:latin typeface="Futura Medium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ACA7695C-E067-4FA9-826A-6B0952A18A92}"/>
              </a:ext>
            </a:extLst>
          </p:cNvPr>
          <p:cNvSpPr/>
          <p:nvPr/>
        </p:nvSpPr>
        <p:spPr>
          <a:xfrm>
            <a:off x="6337125" y="6400204"/>
            <a:ext cx="2236975" cy="3725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lvl="0" algn="ctr"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Pilot Application to Select STOGG Activities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BC6C76F-C588-4AEE-A9B3-0326809E1232}"/>
              </a:ext>
            </a:extLst>
          </p:cNvPr>
          <p:cNvSpPr/>
          <p:nvPr/>
        </p:nvSpPr>
        <p:spPr>
          <a:xfrm>
            <a:off x="7036726" y="5078066"/>
            <a:ext cx="716400" cy="385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595959"/>
                </a:solidFill>
                <a:latin typeface="Futura Medium"/>
              </a:rPr>
              <a:t>15 Jul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63DCD95-5146-49FC-8091-775BEAF23A28}"/>
              </a:ext>
            </a:extLst>
          </p:cNvPr>
          <p:cNvSpPr/>
          <p:nvPr/>
        </p:nvSpPr>
        <p:spPr>
          <a:xfrm>
            <a:off x="4529295" y="2080925"/>
            <a:ext cx="1069670" cy="3326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tx1"/>
                </a:solidFill>
                <a:latin typeface="Futura Medium"/>
              </a:rPr>
              <a:t>18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 Feb</a:t>
            </a: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A25FB37C-9E44-433A-A8E7-00C5132CE79D}"/>
              </a:ext>
            </a:extLst>
          </p:cNvPr>
          <p:cNvSpPr/>
          <p:nvPr/>
        </p:nvSpPr>
        <p:spPr>
          <a:xfrm>
            <a:off x="2407418" y="1550871"/>
            <a:ext cx="951248" cy="252622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" name="Arrow: Curved Left 3">
            <a:extLst>
              <a:ext uri="{FF2B5EF4-FFF2-40B4-BE49-F238E27FC236}">
                <a16:creationId xmlns:a16="http://schemas.microsoft.com/office/drawing/2014/main" id="{CA4A73AF-88F7-40B9-8BB8-F8E05E48B51A}"/>
              </a:ext>
            </a:extLst>
          </p:cNvPr>
          <p:cNvSpPr/>
          <p:nvPr/>
        </p:nvSpPr>
        <p:spPr>
          <a:xfrm>
            <a:off x="10572513" y="702435"/>
            <a:ext cx="1183579" cy="3959423"/>
          </a:xfrm>
          <a:prstGeom prst="curvedLeftArrow">
            <a:avLst>
              <a:gd name="adj1" fmla="val 14906"/>
              <a:gd name="adj2" fmla="val 50000"/>
              <a:gd name="adj3" fmla="val 34785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Arrow: Curved Right 10">
            <a:extLst>
              <a:ext uri="{FF2B5EF4-FFF2-40B4-BE49-F238E27FC236}">
                <a16:creationId xmlns:a16="http://schemas.microsoft.com/office/drawing/2014/main" id="{DB8C1ADE-C1E7-4E4A-97F3-DE09F984A995}"/>
              </a:ext>
            </a:extLst>
          </p:cNvPr>
          <p:cNvSpPr/>
          <p:nvPr/>
        </p:nvSpPr>
        <p:spPr>
          <a:xfrm>
            <a:off x="106272" y="2777116"/>
            <a:ext cx="1071072" cy="3703056"/>
          </a:xfrm>
          <a:prstGeom prst="curvedRightArrow">
            <a:avLst>
              <a:gd name="adj1" fmla="val 15361"/>
              <a:gd name="adj2" fmla="val 50000"/>
              <a:gd name="adj3" fmla="val 25000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42D9877C-768A-4AD5-9738-AD07AEE88E0E}"/>
              </a:ext>
            </a:extLst>
          </p:cNvPr>
          <p:cNvSpPr/>
          <p:nvPr/>
        </p:nvSpPr>
        <p:spPr>
          <a:xfrm>
            <a:off x="10172286" y="5168465"/>
            <a:ext cx="716400" cy="385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595959"/>
                </a:solidFill>
                <a:latin typeface="Futura Medium"/>
              </a:rPr>
              <a:t>01 Aug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2B39F16-4DD7-473D-A8CF-977A911E0295}"/>
              </a:ext>
            </a:extLst>
          </p:cNvPr>
          <p:cNvSpPr/>
          <p:nvPr/>
        </p:nvSpPr>
        <p:spPr>
          <a:xfrm>
            <a:off x="9881943" y="6385192"/>
            <a:ext cx="1404062" cy="306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Go-Liv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C1F5CF2-4229-4904-ACD7-DF0118893274}"/>
              </a:ext>
            </a:extLst>
          </p:cNvPr>
          <p:cNvGrpSpPr/>
          <p:nvPr/>
        </p:nvGrpSpPr>
        <p:grpSpPr>
          <a:xfrm>
            <a:off x="6971717" y="5453704"/>
            <a:ext cx="888141" cy="900658"/>
            <a:chOff x="7787626" y="2059361"/>
            <a:chExt cx="888141" cy="900658"/>
          </a:xfrm>
        </p:grpSpPr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89F95201-0E4B-49FE-A362-56FCFEB58ACA}"/>
                </a:ext>
              </a:extLst>
            </p:cNvPr>
            <p:cNvSpPr/>
            <p:nvPr/>
          </p:nvSpPr>
          <p:spPr>
            <a:xfrm>
              <a:off x="7929056" y="2206731"/>
              <a:ext cx="605280" cy="605918"/>
            </a:xfrm>
            <a:prstGeom prst="ellipse">
              <a:avLst/>
            </a:prstGeom>
            <a:solidFill>
              <a:srgbClr val="0084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DACCA2C1-7C4E-4234-BCA1-2E125CBB859B}"/>
                </a:ext>
              </a:extLst>
            </p:cNvPr>
            <p:cNvSpPr/>
            <p:nvPr/>
          </p:nvSpPr>
          <p:spPr>
            <a:xfrm>
              <a:off x="7787626" y="2059361"/>
              <a:ext cx="888141" cy="900658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F11EC57F-767D-42F4-B92D-A21871220B1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900962" y="2206731"/>
              <a:ext cx="667518" cy="543125"/>
              <a:chOff x="7389813" y="5827713"/>
              <a:chExt cx="1209675" cy="984250"/>
            </a:xfrm>
            <a:solidFill>
              <a:srgbClr val="DD1D21"/>
            </a:solidFill>
          </p:grpSpPr>
          <p:sp>
            <p:nvSpPr>
              <p:cNvPr id="91" name="Freeform 13">
                <a:extLst>
                  <a:ext uri="{FF2B5EF4-FFF2-40B4-BE49-F238E27FC236}">
                    <a16:creationId xmlns:a16="http://schemas.microsoft.com/office/drawing/2014/main" id="{9E272981-C177-463E-BD3D-6EFD4D0C93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08926" y="5827713"/>
                <a:ext cx="176213" cy="206375"/>
              </a:xfrm>
              <a:custGeom>
                <a:avLst/>
                <a:gdLst>
                  <a:gd name="T0" fmla="*/ 23 w 47"/>
                  <a:gd name="T1" fmla="*/ 55 h 55"/>
                  <a:gd name="T2" fmla="*/ 47 w 47"/>
                  <a:gd name="T3" fmla="*/ 26 h 55"/>
                  <a:gd name="T4" fmla="*/ 23 w 47"/>
                  <a:gd name="T5" fmla="*/ 0 h 55"/>
                  <a:gd name="T6" fmla="*/ 0 w 47"/>
                  <a:gd name="T7" fmla="*/ 26 h 55"/>
                  <a:gd name="T8" fmla="*/ 23 w 47"/>
                  <a:gd name="T9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55">
                    <a:moveTo>
                      <a:pt x="23" y="55"/>
                    </a:moveTo>
                    <a:cubicBezTo>
                      <a:pt x="36" y="55"/>
                      <a:pt x="47" y="41"/>
                      <a:pt x="47" y="26"/>
                    </a:cubicBezTo>
                    <a:cubicBezTo>
                      <a:pt x="47" y="11"/>
                      <a:pt x="37" y="0"/>
                      <a:pt x="23" y="0"/>
                    </a:cubicBezTo>
                    <a:cubicBezTo>
                      <a:pt x="10" y="0"/>
                      <a:pt x="0" y="11"/>
                      <a:pt x="0" y="26"/>
                    </a:cubicBezTo>
                    <a:cubicBezTo>
                      <a:pt x="0" y="41"/>
                      <a:pt x="11" y="55"/>
                      <a:pt x="23" y="55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92" name="Freeform 14">
                <a:extLst>
                  <a:ext uri="{FF2B5EF4-FFF2-40B4-BE49-F238E27FC236}">
                    <a16:creationId xmlns:a16="http://schemas.microsoft.com/office/drawing/2014/main" id="{1C1C18C7-1D87-4283-9C0F-85DE59BE4D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2363" y="6018213"/>
                <a:ext cx="158750" cy="184150"/>
              </a:xfrm>
              <a:custGeom>
                <a:avLst/>
                <a:gdLst>
                  <a:gd name="T0" fmla="*/ 21 w 42"/>
                  <a:gd name="T1" fmla="*/ 49 h 49"/>
                  <a:gd name="T2" fmla="*/ 42 w 42"/>
                  <a:gd name="T3" fmla="*/ 23 h 49"/>
                  <a:gd name="T4" fmla="*/ 21 w 42"/>
                  <a:gd name="T5" fmla="*/ 0 h 49"/>
                  <a:gd name="T6" fmla="*/ 0 w 42"/>
                  <a:gd name="T7" fmla="*/ 23 h 49"/>
                  <a:gd name="T8" fmla="*/ 21 w 42"/>
                  <a:gd name="T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49">
                    <a:moveTo>
                      <a:pt x="21" y="49"/>
                    </a:moveTo>
                    <a:cubicBezTo>
                      <a:pt x="33" y="49"/>
                      <a:pt x="42" y="36"/>
                      <a:pt x="42" y="23"/>
                    </a:cubicBezTo>
                    <a:cubicBezTo>
                      <a:pt x="42" y="9"/>
                      <a:pt x="33" y="0"/>
                      <a:pt x="21" y="0"/>
                    </a:cubicBezTo>
                    <a:cubicBezTo>
                      <a:pt x="9" y="0"/>
                      <a:pt x="0" y="9"/>
                      <a:pt x="0" y="23"/>
                    </a:cubicBezTo>
                    <a:cubicBezTo>
                      <a:pt x="0" y="36"/>
                      <a:pt x="10" y="49"/>
                      <a:pt x="21" y="49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93" name="Freeform 15">
                <a:extLst>
                  <a:ext uri="{FF2B5EF4-FFF2-40B4-BE49-F238E27FC236}">
                    <a16:creationId xmlns:a16="http://schemas.microsoft.com/office/drawing/2014/main" id="{D25AD0EE-4D09-403F-B157-F9484FF7C5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89813" y="6056313"/>
                <a:ext cx="1209675" cy="755650"/>
              </a:xfrm>
              <a:custGeom>
                <a:avLst/>
                <a:gdLst>
                  <a:gd name="T0" fmla="*/ 297 w 322"/>
                  <a:gd name="T1" fmla="*/ 45 h 201"/>
                  <a:gd name="T2" fmla="*/ 280 w 322"/>
                  <a:gd name="T3" fmla="*/ 73 h 201"/>
                  <a:gd name="T4" fmla="*/ 262 w 322"/>
                  <a:gd name="T5" fmla="*/ 45 h 201"/>
                  <a:gd name="T6" fmla="*/ 237 w 322"/>
                  <a:gd name="T7" fmla="*/ 56 h 201"/>
                  <a:gd name="T8" fmla="*/ 206 w 322"/>
                  <a:gd name="T9" fmla="*/ 71 h 201"/>
                  <a:gd name="T10" fmla="*/ 203 w 322"/>
                  <a:gd name="T11" fmla="*/ 6 h 201"/>
                  <a:gd name="T12" fmla="*/ 174 w 322"/>
                  <a:gd name="T13" fmla="*/ 3 h 201"/>
                  <a:gd name="T14" fmla="*/ 149 w 322"/>
                  <a:gd name="T15" fmla="*/ 3 h 201"/>
                  <a:gd name="T16" fmla="*/ 119 w 322"/>
                  <a:gd name="T17" fmla="*/ 6 h 201"/>
                  <a:gd name="T18" fmla="*/ 117 w 322"/>
                  <a:gd name="T19" fmla="*/ 71 h 201"/>
                  <a:gd name="T20" fmla="*/ 86 w 322"/>
                  <a:gd name="T21" fmla="*/ 56 h 201"/>
                  <a:gd name="T22" fmla="*/ 60 w 322"/>
                  <a:gd name="T23" fmla="*/ 45 h 201"/>
                  <a:gd name="T24" fmla="*/ 43 w 322"/>
                  <a:gd name="T25" fmla="*/ 73 h 201"/>
                  <a:gd name="T26" fmla="*/ 26 w 322"/>
                  <a:gd name="T27" fmla="*/ 45 h 201"/>
                  <a:gd name="T28" fmla="*/ 1 w 322"/>
                  <a:gd name="T29" fmla="*/ 56 h 201"/>
                  <a:gd name="T30" fmla="*/ 7 w 322"/>
                  <a:gd name="T31" fmla="*/ 130 h 201"/>
                  <a:gd name="T32" fmla="*/ 26 w 322"/>
                  <a:gd name="T33" fmla="*/ 196 h 201"/>
                  <a:gd name="T34" fmla="*/ 31 w 322"/>
                  <a:gd name="T35" fmla="*/ 201 h 201"/>
                  <a:gd name="T36" fmla="*/ 292 w 322"/>
                  <a:gd name="T37" fmla="*/ 201 h 201"/>
                  <a:gd name="T38" fmla="*/ 308 w 322"/>
                  <a:gd name="T39" fmla="*/ 134 h 201"/>
                  <a:gd name="T40" fmla="*/ 319 w 322"/>
                  <a:gd name="T41" fmla="*/ 124 h 201"/>
                  <a:gd name="T42" fmla="*/ 317 w 322"/>
                  <a:gd name="T43" fmla="*/ 50 h 201"/>
                  <a:gd name="T44" fmla="*/ 83 w 322"/>
                  <a:gd name="T45" fmla="*/ 188 h 201"/>
                  <a:gd name="T46" fmla="*/ 74 w 322"/>
                  <a:gd name="T47" fmla="*/ 143 h 201"/>
                  <a:gd name="T48" fmla="*/ 96 w 322"/>
                  <a:gd name="T49" fmla="*/ 175 h 201"/>
                  <a:gd name="T50" fmla="*/ 117 w 322"/>
                  <a:gd name="T51" fmla="*/ 104 h 201"/>
                  <a:gd name="T52" fmla="*/ 83 w 322"/>
                  <a:gd name="T53" fmla="*/ 130 h 201"/>
                  <a:gd name="T54" fmla="*/ 121 w 322"/>
                  <a:gd name="T55" fmla="*/ 188 h 201"/>
                  <a:gd name="T56" fmla="*/ 115 w 322"/>
                  <a:gd name="T57" fmla="*/ 143 h 201"/>
                  <a:gd name="T58" fmla="*/ 155 w 322"/>
                  <a:gd name="T59" fmla="*/ 157 h 201"/>
                  <a:gd name="T60" fmla="*/ 155 w 322"/>
                  <a:gd name="T61" fmla="*/ 120 h 201"/>
                  <a:gd name="T62" fmla="*/ 119 w 322"/>
                  <a:gd name="T63" fmla="*/ 130 h 201"/>
                  <a:gd name="T64" fmla="*/ 155 w 322"/>
                  <a:gd name="T65" fmla="*/ 94 h 201"/>
                  <a:gd name="T66" fmla="*/ 168 w 322"/>
                  <a:gd name="T67" fmla="*/ 94 h 201"/>
                  <a:gd name="T68" fmla="*/ 201 w 322"/>
                  <a:gd name="T69" fmla="*/ 130 h 201"/>
                  <a:gd name="T70" fmla="*/ 168 w 322"/>
                  <a:gd name="T71" fmla="*/ 120 h 201"/>
                  <a:gd name="T72" fmla="*/ 168 w 322"/>
                  <a:gd name="T73" fmla="*/ 188 h 201"/>
                  <a:gd name="T74" fmla="*/ 180 w 322"/>
                  <a:gd name="T75" fmla="*/ 143 h 201"/>
                  <a:gd name="T76" fmla="*/ 212 w 322"/>
                  <a:gd name="T77" fmla="*/ 188 h 201"/>
                  <a:gd name="T78" fmla="*/ 203 w 322"/>
                  <a:gd name="T79" fmla="*/ 102 h 201"/>
                  <a:gd name="T80" fmla="*/ 215 w 322"/>
                  <a:gd name="T81" fmla="*/ 130 h 201"/>
                  <a:gd name="T82" fmla="*/ 226 w 322"/>
                  <a:gd name="T83" fmla="*/ 188 h 201"/>
                  <a:gd name="T84" fmla="*/ 249 w 322"/>
                  <a:gd name="T85" fmla="*/ 143 h 201"/>
                  <a:gd name="T86" fmla="*/ 226 w 322"/>
                  <a:gd name="T87" fmla="*/ 188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22" h="201">
                    <a:moveTo>
                      <a:pt x="317" y="50"/>
                    </a:moveTo>
                    <a:cubicBezTo>
                      <a:pt x="317" y="50"/>
                      <a:pt x="300" y="46"/>
                      <a:pt x="297" y="45"/>
                    </a:cubicBezTo>
                    <a:cubicBezTo>
                      <a:pt x="294" y="44"/>
                      <a:pt x="292" y="44"/>
                      <a:pt x="291" y="47"/>
                    </a:cubicBezTo>
                    <a:cubicBezTo>
                      <a:pt x="290" y="49"/>
                      <a:pt x="281" y="69"/>
                      <a:pt x="280" y="73"/>
                    </a:cubicBezTo>
                    <a:cubicBezTo>
                      <a:pt x="278" y="69"/>
                      <a:pt x="269" y="49"/>
                      <a:pt x="268" y="47"/>
                    </a:cubicBezTo>
                    <a:cubicBezTo>
                      <a:pt x="267" y="44"/>
                      <a:pt x="266" y="44"/>
                      <a:pt x="262" y="45"/>
                    </a:cubicBezTo>
                    <a:cubicBezTo>
                      <a:pt x="259" y="46"/>
                      <a:pt x="242" y="50"/>
                      <a:pt x="242" y="50"/>
                    </a:cubicBezTo>
                    <a:cubicBezTo>
                      <a:pt x="239" y="50"/>
                      <a:pt x="237" y="53"/>
                      <a:pt x="237" y="56"/>
                    </a:cubicBezTo>
                    <a:cubicBezTo>
                      <a:pt x="238" y="88"/>
                      <a:pt x="238" y="88"/>
                      <a:pt x="238" y="88"/>
                    </a:cubicBezTo>
                    <a:cubicBezTo>
                      <a:pt x="229" y="81"/>
                      <a:pt x="218" y="76"/>
                      <a:pt x="206" y="71"/>
                    </a:cubicBezTo>
                    <a:cubicBezTo>
                      <a:pt x="209" y="13"/>
                      <a:pt x="209" y="13"/>
                      <a:pt x="209" y="13"/>
                    </a:cubicBezTo>
                    <a:cubicBezTo>
                      <a:pt x="209" y="10"/>
                      <a:pt x="207" y="7"/>
                      <a:pt x="203" y="6"/>
                    </a:cubicBezTo>
                    <a:cubicBezTo>
                      <a:pt x="203" y="6"/>
                      <a:pt x="184" y="2"/>
                      <a:pt x="180" y="1"/>
                    </a:cubicBezTo>
                    <a:cubicBezTo>
                      <a:pt x="177" y="0"/>
                      <a:pt x="175" y="0"/>
                      <a:pt x="174" y="3"/>
                    </a:cubicBezTo>
                    <a:cubicBezTo>
                      <a:pt x="173" y="5"/>
                      <a:pt x="163" y="28"/>
                      <a:pt x="161" y="32"/>
                    </a:cubicBezTo>
                    <a:cubicBezTo>
                      <a:pt x="160" y="28"/>
                      <a:pt x="150" y="5"/>
                      <a:pt x="149" y="3"/>
                    </a:cubicBezTo>
                    <a:cubicBezTo>
                      <a:pt x="148" y="0"/>
                      <a:pt x="146" y="0"/>
                      <a:pt x="142" y="1"/>
                    </a:cubicBezTo>
                    <a:cubicBezTo>
                      <a:pt x="139" y="2"/>
                      <a:pt x="119" y="6"/>
                      <a:pt x="119" y="6"/>
                    </a:cubicBezTo>
                    <a:cubicBezTo>
                      <a:pt x="116" y="7"/>
                      <a:pt x="114" y="10"/>
                      <a:pt x="114" y="13"/>
                    </a:cubicBezTo>
                    <a:cubicBezTo>
                      <a:pt x="117" y="71"/>
                      <a:pt x="117" y="71"/>
                      <a:pt x="117" y="71"/>
                    </a:cubicBezTo>
                    <a:cubicBezTo>
                      <a:pt x="105" y="76"/>
                      <a:pt x="94" y="81"/>
                      <a:pt x="85" y="88"/>
                    </a:cubicBezTo>
                    <a:cubicBezTo>
                      <a:pt x="86" y="56"/>
                      <a:pt x="86" y="56"/>
                      <a:pt x="86" y="56"/>
                    </a:cubicBezTo>
                    <a:cubicBezTo>
                      <a:pt x="86" y="53"/>
                      <a:pt x="84" y="50"/>
                      <a:pt x="81" y="50"/>
                    </a:cubicBezTo>
                    <a:cubicBezTo>
                      <a:pt x="81" y="50"/>
                      <a:pt x="63" y="46"/>
                      <a:pt x="60" y="45"/>
                    </a:cubicBezTo>
                    <a:cubicBezTo>
                      <a:pt x="57" y="44"/>
                      <a:pt x="56" y="44"/>
                      <a:pt x="55" y="47"/>
                    </a:cubicBezTo>
                    <a:cubicBezTo>
                      <a:pt x="54" y="49"/>
                      <a:pt x="45" y="69"/>
                      <a:pt x="43" y="73"/>
                    </a:cubicBezTo>
                    <a:cubicBezTo>
                      <a:pt x="41" y="69"/>
                      <a:pt x="33" y="49"/>
                      <a:pt x="32" y="47"/>
                    </a:cubicBezTo>
                    <a:cubicBezTo>
                      <a:pt x="31" y="44"/>
                      <a:pt x="29" y="44"/>
                      <a:pt x="26" y="45"/>
                    </a:cubicBezTo>
                    <a:cubicBezTo>
                      <a:pt x="23" y="46"/>
                      <a:pt x="5" y="50"/>
                      <a:pt x="5" y="50"/>
                    </a:cubicBezTo>
                    <a:cubicBezTo>
                      <a:pt x="2" y="50"/>
                      <a:pt x="0" y="53"/>
                      <a:pt x="1" y="56"/>
                    </a:cubicBezTo>
                    <a:cubicBezTo>
                      <a:pt x="3" y="124"/>
                      <a:pt x="3" y="124"/>
                      <a:pt x="3" y="124"/>
                    </a:cubicBezTo>
                    <a:cubicBezTo>
                      <a:pt x="3" y="126"/>
                      <a:pt x="5" y="129"/>
                      <a:pt x="7" y="130"/>
                    </a:cubicBezTo>
                    <a:cubicBezTo>
                      <a:pt x="15" y="134"/>
                      <a:pt x="15" y="134"/>
                      <a:pt x="15" y="134"/>
                    </a:cubicBezTo>
                    <a:cubicBezTo>
                      <a:pt x="26" y="196"/>
                      <a:pt x="26" y="196"/>
                      <a:pt x="26" y="196"/>
                    </a:cubicBezTo>
                    <a:cubicBezTo>
                      <a:pt x="26" y="198"/>
                      <a:pt x="28" y="201"/>
                      <a:pt x="31" y="201"/>
                    </a:cubicBezTo>
                    <a:cubicBezTo>
                      <a:pt x="31" y="201"/>
                      <a:pt x="31" y="201"/>
                      <a:pt x="31" y="201"/>
                    </a:cubicBezTo>
                    <a:cubicBezTo>
                      <a:pt x="292" y="201"/>
                      <a:pt x="292" y="201"/>
                      <a:pt x="292" y="201"/>
                    </a:cubicBezTo>
                    <a:cubicBezTo>
                      <a:pt x="292" y="201"/>
                      <a:pt x="292" y="201"/>
                      <a:pt x="292" y="201"/>
                    </a:cubicBezTo>
                    <a:cubicBezTo>
                      <a:pt x="295" y="201"/>
                      <a:pt x="297" y="198"/>
                      <a:pt x="297" y="196"/>
                    </a:cubicBezTo>
                    <a:cubicBezTo>
                      <a:pt x="308" y="134"/>
                      <a:pt x="308" y="134"/>
                      <a:pt x="308" y="134"/>
                    </a:cubicBezTo>
                    <a:cubicBezTo>
                      <a:pt x="316" y="130"/>
                      <a:pt x="316" y="130"/>
                      <a:pt x="316" y="130"/>
                    </a:cubicBezTo>
                    <a:cubicBezTo>
                      <a:pt x="318" y="129"/>
                      <a:pt x="319" y="126"/>
                      <a:pt x="319" y="124"/>
                    </a:cubicBezTo>
                    <a:cubicBezTo>
                      <a:pt x="322" y="56"/>
                      <a:pt x="322" y="56"/>
                      <a:pt x="322" y="56"/>
                    </a:cubicBezTo>
                    <a:cubicBezTo>
                      <a:pt x="322" y="53"/>
                      <a:pt x="320" y="50"/>
                      <a:pt x="317" y="50"/>
                    </a:cubicBezTo>
                    <a:close/>
                    <a:moveTo>
                      <a:pt x="96" y="175"/>
                    </a:moveTo>
                    <a:cubicBezTo>
                      <a:pt x="90" y="177"/>
                      <a:pt x="85" y="182"/>
                      <a:pt x="83" y="188"/>
                    </a:cubicBezTo>
                    <a:cubicBezTo>
                      <a:pt x="60" y="188"/>
                      <a:pt x="60" y="188"/>
                      <a:pt x="60" y="188"/>
                    </a:cubicBezTo>
                    <a:cubicBezTo>
                      <a:pt x="61" y="172"/>
                      <a:pt x="66" y="157"/>
                      <a:pt x="74" y="143"/>
                    </a:cubicBezTo>
                    <a:cubicBezTo>
                      <a:pt x="101" y="143"/>
                      <a:pt x="101" y="143"/>
                      <a:pt x="101" y="143"/>
                    </a:cubicBezTo>
                    <a:cubicBezTo>
                      <a:pt x="98" y="154"/>
                      <a:pt x="97" y="164"/>
                      <a:pt x="96" y="175"/>
                    </a:cubicBezTo>
                    <a:close/>
                    <a:moveTo>
                      <a:pt x="83" y="130"/>
                    </a:moveTo>
                    <a:cubicBezTo>
                      <a:pt x="92" y="119"/>
                      <a:pt x="104" y="110"/>
                      <a:pt x="117" y="104"/>
                    </a:cubicBezTo>
                    <a:cubicBezTo>
                      <a:pt x="112" y="112"/>
                      <a:pt x="108" y="121"/>
                      <a:pt x="105" y="130"/>
                    </a:cubicBezTo>
                    <a:lnTo>
                      <a:pt x="83" y="130"/>
                    </a:lnTo>
                    <a:close/>
                    <a:moveTo>
                      <a:pt x="155" y="188"/>
                    </a:moveTo>
                    <a:cubicBezTo>
                      <a:pt x="121" y="188"/>
                      <a:pt x="121" y="188"/>
                      <a:pt x="121" y="188"/>
                    </a:cubicBezTo>
                    <a:cubicBezTo>
                      <a:pt x="119" y="182"/>
                      <a:pt x="115" y="177"/>
                      <a:pt x="109" y="175"/>
                    </a:cubicBezTo>
                    <a:cubicBezTo>
                      <a:pt x="110" y="164"/>
                      <a:pt x="112" y="154"/>
                      <a:pt x="115" y="143"/>
                    </a:cubicBezTo>
                    <a:cubicBezTo>
                      <a:pt x="142" y="143"/>
                      <a:pt x="142" y="143"/>
                      <a:pt x="142" y="143"/>
                    </a:cubicBezTo>
                    <a:cubicBezTo>
                      <a:pt x="144" y="150"/>
                      <a:pt x="149" y="155"/>
                      <a:pt x="155" y="157"/>
                    </a:cubicBezTo>
                    <a:lnTo>
                      <a:pt x="155" y="188"/>
                    </a:lnTo>
                    <a:close/>
                    <a:moveTo>
                      <a:pt x="155" y="120"/>
                    </a:moveTo>
                    <a:cubicBezTo>
                      <a:pt x="150" y="122"/>
                      <a:pt x="146" y="126"/>
                      <a:pt x="144" y="130"/>
                    </a:cubicBezTo>
                    <a:cubicBezTo>
                      <a:pt x="119" y="130"/>
                      <a:pt x="119" y="130"/>
                      <a:pt x="119" y="130"/>
                    </a:cubicBezTo>
                    <a:cubicBezTo>
                      <a:pt x="124" y="118"/>
                      <a:pt x="130" y="106"/>
                      <a:pt x="137" y="96"/>
                    </a:cubicBezTo>
                    <a:cubicBezTo>
                      <a:pt x="142" y="95"/>
                      <a:pt x="148" y="94"/>
                      <a:pt x="155" y="94"/>
                    </a:cubicBezTo>
                    <a:lnTo>
                      <a:pt x="155" y="120"/>
                    </a:lnTo>
                    <a:close/>
                    <a:moveTo>
                      <a:pt x="168" y="94"/>
                    </a:moveTo>
                    <a:cubicBezTo>
                      <a:pt x="173" y="94"/>
                      <a:pt x="178" y="95"/>
                      <a:pt x="183" y="96"/>
                    </a:cubicBezTo>
                    <a:cubicBezTo>
                      <a:pt x="190" y="106"/>
                      <a:pt x="196" y="118"/>
                      <a:pt x="201" y="130"/>
                    </a:cubicBezTo>
                    <a:cubicBezTo>
                      <a:pt x="179" y="130"/>
                      <a:pt x="179" y="130"/>
                      <a:pt x="179" y="130"/>
                    </a:cubicBezTo>
                    <a:cubicBezTo>
                      <a:pt x="177" y="126"/>
                      <a:pt x="173" y="122"/>
                      <a:pt x="168" y="120"/>
                    </a:cubicBezTo>
                    <a:lnTo>
                      <a:pt x="168" y="94"/>
                    </a:lnTo>
                    <a:close/>
                    <a:moveTo>
                      <a:pt x="168" y="188"/>
                    </a:moveTo>
                    <a:cubicBezTo>
                      <a:pt x="168" y="157"/>
                      <a:pt x="168" y="157"/>
                      <a:pt x="168" y="157"/>
                    </a:cubicBezTo>
                    <a:cubicBezTo>
                      <a:pt x="174" y="155"/>
                      <a:pt x="179" y="150"/>
                      <a:pt x="180" y="143"/>
                    </a:cubicBezTo>
                    <a:cubicBezTo>
                      <a:pt x="205" y="143"/>
                      <a:pt x="205" y="143"/>
                      <a:pt x="205" y="143"/>
                    </a:cubicBezTo>
                    <a:cubicBezTo>
                      <a:pt x="209" y="158"/>
                      <a:pt x="212" y="172"/>
                      <a:pt x="212" y="188"/>
                    </a:cubicBezTo>
                    <a:lnTo>
                      <a:pt x="168" y="188"/>
                    </a:lnTo>
                    <a:close/>
                    <a:moveTo>
                      <a:pt x="203" y="102"/>
                    </a:moveTo>
                    <a:cubicBezTo>
                      <a:pt x="217" y="108"/>
                      <a:pt x="230" y="118"/>
                      <a:pt x="240" y="130"/>
                    </a:cubicBezTo>
                    <a:cubicBezTo>
                      <a:pt x="215" y="130"/>
                      <a:pt x="215" y="130"/>
                      <a:pt x="215" y="130"/>
                    </a:cubicBezTo>
                    <a:cubicBezTo>
                      <a:pt x="212" y="120"/>
                      <a:pt x="207" y="111"/>
                      <a:pt x="203" y="102"/>
                    </a:cubicBezTo>
                    <a:close/>
                    <a:moveTo>
                      <a:pt x="226" y="188"/>
                    </a:moveTo>
                    <a:cubicBezTo>
                      <a:pt x="225" y="172"/>
                      <a:pt x="223" y="158"/>
                      <a:pt x="219" y="143"/>
                    </a:cubicBezTo>
                    <a:cubicBezTo>
                      <a:pt x="249" y="143"/>
                      <a:pt x="249" y="143"/>
                      <a:pt x="249" y="143"/>
                    </a:cubicBezTo>
                    <a:cubicBezTo>
                      <a:pt x="257" y="157"/>
                      <a:pt x="261" y="172"/>
                      <a:pt x="262" y="188"/>
                    </a:cubicBezTo>
                    <a:lnTo>
                      <a:pt x="226" y="188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94" name="Freeform 16">
                <a:extLst>
                  <a:ext uri="{FF2B5EF4-FFF2-40B4-BE49-F238E27FC236}">
                    <a16:creationId xmlns:a16="http://schemas.microsoft.com/office/drawing/2014/main" id="{3214989D-1997-47EA-837A-3DEA16630E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62951" y="6018213"/>
                <a:ext cx="157163" cy="184150"/>
              </a:xfrm>
              <a:custGeom>
                <a:avLst/>
                <a:gdLst>
                  <a:gd name="T0" fmla="*/ 21 w 42"/>
                  <a:gd name="T1" fmla="*/ 49 h 49"/>
                  <a:gd name="T2" fmla="*/ 42 w 42"/>
                  <a:gd name="T3" fmla="*/ 23 h 49"/>
                  <a:gd name="T4" fmla="*/ 21 w 42"/>
                  <a:gd name="T5" fmla="*/ 0 h 49"/>
                  <a:gd name="T6" fmla="*/ 0 w 42"/>
                  <a:gd name="T7" fmla="*/ 23 h 49"/>
                  <a:gd name="T8" fmla="*/ 21 w 42"/>
                  <a:gd name="T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49">
                    <a:moveTo>
                      <a:pt x="21" y="49"/>
                    </a:moveTo>
                    <a:cubicBezTo>
                      <a:pt x="32" y="49"/>
                      <a:pt x="42" y="36"/>
                      <a:pt x="42" y="23"/>
                    </a:cubicBezTo>
                    <a:cubicBezTo>
                      <a:pt x="42" y="9"/>
                      <a:pt x="33" y="0"/>
                      <a:pt x="21" y="0"/>
                    </a:cubicBezTo>
                    <a:cubicBezTo>
                      <a:pt x="8" y="0"/>
                      <a:pt x="0" y="9"/>
                      <a:pt x="0" y="23"/>
                    </a:cubicBezTo>
                    <a:cubicBezTo>
                      <a:pt x="0" y="36"/>
                      <a:pt x="9" y="49"/>
                      <a:pt x="21" y="49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5" name="Arrow: Right 104">
            <a:extLst>
              <a:ext uri="{FF2B5EF4-FFF2-40B4-BE49-F238E27FC236}">
                <a16:creationId xmlns:a16="http://schemas.microsoft.com/office/drawing/2014/main" id="{15C1F5FC-609F-43E6-837C-16EEDC0456F8}"/>
              </a:ext>
            </a:extLst>
          </p:cNvPr>
          <p:cNvSpPr/>
          <p:nvPr/>
        </p:nvSpPr>
        <p:spPr>
          <a:xfrm>
            <a:off x="11091520" y="4992556"/>
            <a:ext cx="951248" cy="252622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2" name="Arrow: Left 11">
            <a:extLst>
              <a:ext uri="{FF2B5EF4-FFF2-40B4-BE49-F238E27FC236}">
                <a16:creationId xmlns:a16="http://schemas.microsoft.com/office/drawing/2014/main" id="{16C154E3-1159-4B99-AE9C-52D0A75A4652}"/>
              </a:ext>
            </a:extLst>
          </p:cNvPr>
          <p:cNvSpPr/>
          <p:nvPr/>
        </p:nvSpPr>
        <p:spPr>
          <a:xfrm>
            <a:off x="4321530" y="3624332"/>
            <a:ext cx="1173277" cy="280339"/>
          </a:xfrm>
          <a:prstGeom prst="lef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F9CEFC42-C5BC-45BF-B67A-6FE4BF70EF78}"/>
              </a:ext>
            </a:extLst>
          </p:cNvPr>
          <p:cNvGrpSpPr/>
          <p:nvPr/>
        </p:nvGrpSpPr>
        <p:grpSpPr>
          <a:xfrm>
            <a:off x="6337125" y="3342159"/>
            <a:ext cx="888141" cy="900658"/>
            <a:chOff x="2913812" y="2120796"/>
            <a:chExt cx="888141" cy="900658"/>
          </a:xfrm>
        </p:grpSpPr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0CAA3F24-C8F2-47B5-8E01-7BD155F7BCFA}"/>
                </a:ext>
              </a:extLst>
            </p:cNvPr>
            <p:cNvSpPr/>
            <p:nvPr/>
          </p:nvSpPr>
          <p:spPr>
            <a:xfrm>
              <a:off x="3055243" y="2268166"/>
              <a:ext cx="605280" cy="605918"/>
            </a:xfrm>
            <a:prstGeom prst="ellipse">
              <a:avLst/>
            </a:prstGeom>
            <a:solidFill>
              <a:srgbClr val="0084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15F36D3A-A9B3-48E6-8041-28F1DB2B768A}"/>
                </a:ext>
              </a:extLst>
            </p:cNvPr>
            <p:cNvSpPr/>
            <p:nvPr/>
          </p:nvSpPr>
          <p:spPr>
            <a:xfrm>
              <a:off x="2913812" y="2120796"/>
              <a:ext cx="888141" cy="900658"/>
            </a:xfrm>
            <a:prstGeom prst="ellipse">
              <a:avLst/>
            </a:prstGeom>
            <a:solidFill>
              <a:srgbClr val="00844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pic>
          <p:nvPicPr>
            <p:cNvPr id="110" name="Graphic 109" descr="Handshake">
              <a:extLst>
                <a:ext uri="{FF2B5EF4-FFF2-40B4-BE49-F238E27FC236}">
                  <a16:creationId xmlns:a16="http://schemas.microsoft.com/office/drawing/2014/main" id="{9068306E-F09E-4C07-B947-AC4719602C1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049472" y="2254346"/>
              <a:ext cx="633558" cy="63355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4B050BBF-EA2E-498F-B981-CF7ACE57E951}"/>
              </a:ext>
            </a:extLst>
          </p:cNvPr>
          <p:cNvGrpSpPr/>
          <p:nvPr/>
        </p:nvGrpSpPr>
        <p:grpSpPr>
          <a:xfrm>
            <a:off x="7519640" y="1228247"/>
            <a:ext cx="905256" cy="900658"/>
            <a:chOff x="7790669" y="3521951"/>
            <a:chExt cx="905256" cy="900658"/>
          </a:xfrm>
        </p:grpSpPr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1F1E0C61-A9F2-438F-9DC1-16E6A06CB08D}"/>
                </a:ext>
              </a:extLst>
            </p:cNvPr>
            <p:cNvSpPr/>
            <p:nvPr/>
          </p:nvSpPr>
          <p:spPr>
            <a:xfrm>
              <a:off x="7790669" y="3521951"/>
              <a:ext cx="905256" cy="900658"/>
            </a:xfrm>
            <a:prstGeom prst="ellipse">
              <a:avLst/>
            </a:prstGeom>
            <a:solidFill>
              <a:srgbClr val="00844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GB" sz="1600" dirty="0">
                <a:solidFill>
                  <a:srgbClr val="FFFFFF"/>
                </a:solidFill>
                <a:latin typeface="Futura Medium"/>
              </a:endParaRPr>
            </a:p>
          </p:txBody>
        </p:sp>
        <p:pic>
          <p:nvPicPr>
            <p:cNvPr id="113" name="Graphic 112" descr="Group brainstorm">
              <a:extLst>
                <a:ext uri="{FF2B5EF4-FFF2-40B4-BE49-F238E27FC236}">
                  <a16:creationId xmlns:a16="http://schemas.microsoft.com/office/drawing/2014/main" id="{D8314EC3-6CF3-4FA7-AA55-81EC5BE96CB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931147" y="3584359"/>
              <a:ext cx="633600" cy="633600"/>
            </a:xfrm>
            <a:prstGeom prst="rect">
              <a:avLst/>
            </a:prstGeom>
          </p:spPr>
        </p:pic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98DFD239-2F91-4921-838E-BC8A5882B09A}"/>
              </a:ext>
            </a:extLst>
          </p:cNvPr>
          <p:cNvGrpSpPr/>
          <p:nvPr/>
        </p:nvGrpSpPr>
        <p:grpSpPr>
          <a:xfrm>
            <a:off x="2289863" y="3317476"/>
            <a:ext cx="905256" cy="900658"/>
            <a:chOff x="7790669" y="3521951"/>
            <a:chExt cx="905256" cy="900658"/>
          </a:xfrm>
        </p:grpSpPr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7A1EDCEF-A67D-4A8B-8017-5526551889E5}"/>
                </a:ext>
              </a:extLst>
            </p:cNvPr>
            <p:cNvSpPr/>
            <p:nvPr/>
          </p:nvSpPr>
          <p:spPr>
            <a:xfrm>
              <a:off x="7790669" y="3521951"/>
              <a:ext cx="905256" cy="900658"/>
            </a:xfrm>
            <a:prstGeom prst="ellipse">
              <a:avLst/>
            </a:prstGeom>
            <a:solidFill>
              <a:srgbClr val="00844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GB" sz="1600" dirty="0">
                <a:solidFill>
                  <a:srgbClr val="FFFFFF"/>
                </a:solidFill>
                <a:latin typeface="Futura Medium"/>
              </a:endParaRPr>
            </a:p>
          </p:txBody>
        </p:sp>
        <p:pic>
          <p:nvPicPr>
            <p:cNvPr id="116" name="Graphic 115" descr="Group brainstorm">
              <a:extLst>
                <a:ext uri="{FF2B5EF4-FFF2-40B4-BE49-F238E27FC236}">
                  <a16:creationId xmlns:a16="http://schemas.microsoft.com/office/drawing/2014/main" id="{BBA93D2D-BEC8-4342-92EA-44F58F18793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931147" y="3584359"/>
              <a:ext cx="633600" cy="633600"/>
            </a:xfrm>
            <a:prstGeom prst="rect">
              <a:avLst/>
            </a:prstGeom>
          </p:spPr>
        </p:pic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D531C1CE-FCE8-48E8-9A61-5738CE665521}"/>
              </a:ext>
            </a:extLst>
          </p:cNvPr>
          <p:cNvGrpSpPr/>
          <p:nvPr/>
        </p:nvGrpSpPr>
        <p:grpSpPr>
          <a:xfrm>
            <a:off x="10087768" y="2192755"/>
            <a:ext cx="888141" cy="900658"/>
            <a:chOff x="2913812" y="4736769"/>
            <a:chExt cx="888141" cy="900658"/>
          </a:xfrm>
        </p:grpSpPr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AA3D9FD1-D74A-4708-A524-063932BB4C39}"/>
                </a:ext>
              </a:extLst>
            </p:cNvPr>
            <p:cNvSpPr/>
            <p:nvPr/>
          </p:nvSpPr>
          <p:spPr>
            <a:xfrm>
              <a:off x="3055243" y="4884139"/>
              <a:ext cx="605280" cy="605918"/>
            </a:xfrm>
            <a:prstGeom prst="ellipse">
              <a:avLst/>
            </a:prstGeom>
            <a:solidFill>
              <a:srgbClr val="0084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56ECFEE9-D02A-4BE3-A642-6EFCE747AA4A}"/>
                </a:ext>
              </a:extLst>
            </p:cNvPr>
            <p:cNvSpPr/>
            <p:nvPr/>
          </p:nvSpPr>
          <p:spPr>
            <a:xfrm>
              <a:off x="2913812" y="4736769"/>
              <a:ext cx="888141" cy="900658"/>
            </a:xfrm>
            <a:prstGeom prst="ellipse">
              <a:avLst/>
            </a:prstGeom>
            <a:solidFill>
              <a:srgbClr val="00844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pic>
          <p:nvPicPr>
            <p:cNvPr id="120" name="Graphic 119" descr="Boardroom">
              <a:extLst>
                <a:ext uri="{FF2B5EF4-FFF2-40B4-BE49-F238E27FC236}">
                  <a16:creationId xmlns:a16="http://schemas.microsoft.com/office/drawing/2014/main" id="{6815658F-5597-44A9-A5E8-218410E676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3049472" y="4870319"/>
              <a:ext cx="633558" cy="63355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21" name="Rectangle 120">
            <a:extLst>
              <a:ext uri="{FF2B5EF4-FFF2-40B4-BE49-F238E27FC236}">
                <a16:creationId xmlns:a16="http://schemas.microsoft.com/office/drawing/2014/main" id="{69A26C70-402F-4995-BB7D-EFC9FF9EBB55}"/>
              </a:ext>
            </a:extLst>
          </p:cNvPr>
          <p:cNvSpPr/>
          <p:nvPr/>
        </p:nvSpPr>
        <p:spPr>
          <a:xfrm>
            <a:off x="7620286" y="2044668"/>
            <a:ext cx="716400" cy="385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22 Apr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B4FB0687-213F-4407-AE07-9311D5C1F74B}"/>
              </a:ext>
            </a:extLst>
          </p:cNvPr>
          <p:cNvSpPr/>
          <p:nvPr/>
        </p:nvSpPr>
        <p:spPr>
          <a:xfrm>
            <a:off x="10834479" y="4639863"/>
            <a:ext cx="1224880" cy="4466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Implementation</a:t>
            </a: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4ADD1E8F-D50D-43E0-ABF5-E425E87029D1}"/>
              </a:ext>
            </a:extLst>
          </p:cNvPr>
          <p:cNvGrpSpPr/>
          <p:nvPr/>
        </p:nvGrpSpPr>
        <p:grpSpPr>
          <a:xfrm>
            <a:off x="10086415" y="5420344"/>
            <a:ext cx="888141" cy="900658"/>
            <a:chOff x="10086415" y="5420344"/>
            <a:chExt cx="888141" cy="900658"/>
          </a:xfrm>
        </p:grpSpPr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49F33706-DDDD-49D6-9F8B-4D27D1B15686}"/>
                </a:ext>
              </a:extLst>
            </p:cNvPr>
            <p:cNvSpPr/>
            <p:nvPr/>
          </p:nvSpPr>
          <p:spPr>
            <a:xfrm>
              <a:off x="10086415" y="5420344"/>
              <a:ext cx="888141" cy="900658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pic>
          <p:nvPicPr>
            <p:cNvPr id="132" name="Graphic 131" descr="Star">
              <a:extLst>
                <a:ext uri="{FF2B5EF4-FFF2-40B4-BE49-F238E27FC236}">
                  <a16:creationId xmlns:a16="http://schemas.microsoft.com/office/drawing/2014/main" id="{05653BCD-AC5A-449B-9F19-124C1ACD53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0212276" y="5513890"/>
              <a:ext cx="633600" cy="633600"/>
            </a:xfrm>
            <a:prstGeom prst="rect">
              <a:avLst/>
            </a:prstGeom>
          </p:spPr>
        </p:pic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91067D04-D7C2-4DCC-9A11-0428A6F50736}"/>
              </a:ext>
            </a:extLst>
          </p:cNvPr>
          <p:cNvGrpSpPr/>
          <p:nvPr/>
        </p:nvGrpSpPr>
        <p:grpSpPr>
          <a:xfrm>
            <a:off x="3931520" y="5427253"/>
            <a:ext cx="888141" cy="900658"/>
            <a:chOff x="3969797" y="4376368"/>
            <a:chExt cx="888141" cy="900658"/>
          </a:xfrm>
        </p:grpSpPr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FD301293-8AF4-4F1E-956F-4A881ECDC8F9}"/>
                </a:ext>
              </a:extLst>
            </p:cNvPr>
            <p:cNvSpPr/>
            <p:nvPr/>
          </p:nvSpPr>
          <p:spPr>
            <a:xfrm>
              <a:off x="3969797" y="4376368"/>
              <a:ext cx="888141" cy="900658"/>
            </a:xfrm>
            <a:prstGeom prst="ellipse">
              <a:avLst/>
            </a:prstGeom>
            <a:solidFill>
              <a:srgbClr val="FBCE07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pic>
          <p:nvPicPr>
            <p:cNvPr id="128" name="Graphic 127" descr="Document">
              <a:extLst>
                <a:ext uri="{FF2B5EF4-FFF2-40B4-BE49-F238E27FC236}">
                  <a16:creationId xmlns:a16="http://schemas.microsoft.com/office/drawing/2014/main" id="{4E9BD0EC-440E-4864-91EA-133FA7A7BF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/>
          </p:blipFill>
          <p:spPr>
            <a:xfrm>
              <a:off x="4111227" y="4498706"/>
              <a:ext cx="633558" cy="63355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96" name="Diamond 95">
            <a:extLst>
              <a:ext uri="{FF2B5EF4-FFF2-40B4-BE49-F238E27FC236}">
                <a16:creationId xmlns:a16="http://schemas.microsoft.com/office/drawing/2014/main" id="{8DE51D27-E4D7-42F4-9390-30549C9CEA08}"/>
              </a:ext>
            </a:extLst>
          </p:cNvPr>
          <p:cNvSpPr/>
          <p:nvPr/>
        </p:nvSpPr>
        <p:spPr>
          <a:xfrm>
            <a:off x="2814232" y="1299626"/>
            <a:ext cx="222756" cy="297692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AB600504-FB38-409F-801F-EE49C9D99984}"/>
              </a:ext>
            </a:extLst>
          </p:cNvPr>
          <p:cNvSpPr/>
          <p:nvPr/>
        </p:nvSpPr>
        <p:spPr>
          <a:xfrm>
            <a:off x="2281438" y="833589"/>
            <a:ext cx="1210910" cy="4009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lvl="0" algn="ctr">
              <a:defRPr/>
            </a:pPr>
            <a:r>
              <a:rPr lang="en-US" sz="1200" dirty="0">
                <a:solidFill>
                  <a:srgbClr val="FF0000"/>
                </a:solidFill>
                <a:latin typeface="Futura Medium"/>
              </a:rPr>
              <a:t>Commence Weekly meetings</a:t>
            </a:r>
          </a:p>
        </p:txBody>
      </p:sp>
      <p:sp>
        <p:nvSpPr>
          <p:cNvPr id="103" name="Diamond 102">
            <a:extLst>
              <a:ext uri="{FF2B5EF4-FFF2-40B4-BE49-F238E27FC236}">
                <a16:creationId xmlns:a16="http://schemas.microsoft.com/office/drawing/2014/main" id="{293DE779-2BEB-4B3F-91CC-3989268FFD37}"/>
              </a:ext>
            </a:extLst>
          </p:cNvPr>
          <p:cNvSpPr/>
          <p:nvPr/>
        </p:nvSpPr>
        <p:spPr>
          <a:xfrm>
            <a:off x="4848834" y="3370398"/>
            <a:ext cx="222756" cy="297692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0CD04D28-75DB-4F64-BE0A-909138CBB446}"/>
              </a:ext>
            </a:extLst>
          </p:cNvPr>
          <p:cNvSpPr/>
          <p:nvPr/>
        </p:nvSpPr>
        <p:spPr>
          <a:xfrm>
            <a:off x="4307639" y="2752751"/>
            <a:ext cx="1210910" cy="4009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lvl="0" algn="ctr">
              <a:defRPr/>
            </a:pPr>
            <a:r>
              <a:rPr lang="en-US" sz="1200" dirty="0">
                <a:solidFill>
                  <a:srgbClr val="FF0000"/>
                </a:solidFill>
                <a:latin typeface="Futura Medium"/>
              </a:rPr>
              <a:t>Continue Weekly meetings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utura Medium"/>
            </a:endParaRPr>
          </a:p>
        </p:txBody>
      </p:sp>
      <p:sp>
        <p:nvSpPr>
          <p:cNvPr id="127" name="Diamond 126">
            <a:extLst>
              <a:ext uri="{FF2B5EF4-FFF2-40B4-BE49-F238E27FC236}">
                <a16:creationId xmlns:a16="http://schemas.microsoft.com/office/drawing/2014/main" id="{A58D1243-C8F3-486D-A1DE-C328E05A9641}"/>
              </a:ext>
            </a:extLst>
          </p:cNvPr>
          <p:cNvSpPr/>
          <p:nvPr/>
        </p:nvSpPr>
        <p:spPr>
          <a:xfrm>
            <a:off x="1762632" y="4654107"/>
            <a:ext cx="222756" cy="297692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F3ADC8B0-4FD5-4611-AE32-B1EAF6CDFA3A}"/>
              </a:ext>
            </a:extLst>
          </p:cNvPr>
          <p:cNvSpPr/>
          <p:nvPr/>
        </p:nvSpPr>
        <p:spPr>
          <a:xfrm>
            <a:off x="2004993" y="4602499"/>
            <a:ext cx="1210910" cy="4009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lvl="0" algn="ctr">
              <a:defRPr/>
            </a:pPr>
            <a:r>
              <a:rPr lang="en-US" sz="1200" dirty="0">
                <a:solidFill>
                  <a:srgbClr val="FF0000"/>
                </a:solidFill>
                <a:latin typeface="Futura Medium"/>
              </a:rPr>
              <a:t>DRB Engagement 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utura Medium"/>
            </a:endParaRPr>
          </a:p>
        </p:txBody>
      </p:sp>
      <p:sp>
        <p:nvSpPr>
          <p:cNvPr id="135" name="Arrow: Right 134">
            <a:extLst>
              <a:ext uri="{FF2B5EF4-FFF2-40B4-BE49-F238E27FC236}">
                <a16:creationId xmlns:a16="http://schemas.microsoft.com/office/drawing/2014/main" id="{AD343170-9543-4C49-AE69-9AF336B783F7}"/>
              </a:ext>
            </a:extLst>
          </p:cNvPr>
          <p:cNvSpPr/>
          <p:nvPr/>
        </p:nvSpPr>
        <p:spPr>
          <a:xfrm>
            <a:off x="5777922" y="5755569"/>
            <a:ext cx="951248" cy="252622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40" name="Arrow: Right 139">
            <a:extLst>
              <a:ext uri="{FF2B5EF4-FFF2-40B4-BE49-F238E27FC236}">
                <a16:creationId xmlns:a16="http://schemas.microsoft.com/office/drawing/2014/main" id="{C10F17E1-2012-46FB-830B-BE289EC64E96}"/>
              </a:ext>
            </a:extLst>
          </p:cNvPr>
          <p:cNvSpPr/>
          <p:nvPr/>
        </p:nvSpPr>
        <p:spPr>
          <a:xfrm>
            <a:off x="9056140" y="5735824"/>
            <a:ext cx="951248" cy="252622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05420910-8CE6-47BA-BA2D-58FE0ACF345F}"/>
              </a:ext>
            </a:extLst>
          </p:cNvPr>
          <p:cNvGrpSpPr/>
          <p:nvPr/>
        </p:nvGrpSpPr>
        <p:grpSpPr>
          <a:xfrm>
            <a:off x="4620060" y="1243970"/>
            <a:ext cx="888141" cy="900658"/>
            <a:chOff x="2913812" y="4736769"/>
            <a:chExt cx="888141" cy="900658"/>
          </a:xfrm>
        </p:grpSpPr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83FF0FAB-E08A-495C-8662-A085244276F8}"/>
                </a:ext>
              </a:extLst>
            </p:cNvPr>
            <p:cNvSpPr/>
            <p:nvPr/>
          </p:nvSpPr>
          <p:spPr>
            <a:xfrm>
              <a:off x="3055243" y="4884139"/>
              <a:ext cx="605280" cy="605918"/>
            </a:xfrm>
            <a:prstGeom prst="ellipse">
              <a:avLst/>
            </a:prstGeom>
            <a:solidFill>
              <a:srgbClr val="0084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6F2A5C9A-FE3C-4F5C-B66E-8EC092039C38}"/>
                </a:ext>
              </a:extLst>
            </p:cNvPr>
            <p:cNvSpPr/>
            <p:nvPr/>
          </p:nvSpPr>
          <p:spPr>
            <a:xfrm>
              <a:off x="2913812" y="4736769"/>
              <a:ext cx="888141" cy="900658"/>
            </a:xfrm>
            <a:prstGeom prst="ellipse">
              <a:avLst/>
            </a:prstGeom>
            <a:solidFill>
              <a:srgbClr val="00844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pic>
          <p:nvPicPr>
            <p:cNvPr id="143" name="Graphic 142" descr="Boardroom">
              <a:extLst>
                <a:ext uri="{FF2B5EF4-FFF2-40B4-BE49-F238E27FC236}">
                  <a16:creationId xmlns:a16="http://schemas.microsoft.com/office/drawing/2014/main" id="{EB9DF0CB-CC3F-4B73-A908-F942F56F14F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3049472" y="4870319"/>
              <a:ext cx="633558" cy="63355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3682002409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Font Theme">
      <a:majorFont>
        <a:latin typeface="ShellBold"/>
        <a:ea typeface=""/>
        <a:cs typeface=""/>
      </a:majorFont>
      <a:minorFont>
        <a:latin typeface="Shell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Presentation8" id="{66E44714-2F41-4648-BEFC-453F4B26FF75}" vid="{42DCD577-931D-477A-B5B6-7233450512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26</TotalTime>
  <Words>74</Words>
  <Application>Microsoft Office PowerPoint</Application>
  <PresentationFormat>Widescreen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Futura Medium</vt:lpstr>
      <vt:lpstr>Lato Light</vt:lpstr>
      <vt:lpstr>ShellBold</vt:lpstr>
      <vt:lpstr>ShellMedium</vt:lpstr>
      <vt:lpstr>Wingdings</vt:lpstr>
      <vt:lpstr>Shell layouts with footer</vt:lpstr>
      <vt:lpstr>think-cell Slide</vt:lpstr>
      <vt:lpstr>Application of PT2020 to STOGG Roadmap to Go-live da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NEPCo Governance Engagement Improvement Roadmap</dc:title>
  <dc:creator>Ochonogor, Chukwuma SNEPCO-PTP/D/N</dc:creator>
  <cp:lastModifiedBy>Nnanna, Erasmus J SPDC-PTD/C/NCW</cp:lastModifiedBy>
  <cp:revision>52</cp:revision>
  <dcterms:created xsi:type="dcterms:W3CDTF">2021-01-19T15:14:14Z</dcterms:created>
  <dcterms:modified xsi:type="dcterms:W3CDTF">2021-04-09T14:59:59Z</dcterms:modified>
</cp:coreProperties>
</file>